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3.xml" ContentType="application/vnd.openxmlformats-officedocument.them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4.xml" ContentType="application/vnd.openxmlformats-officedocument.theme+xml"/>
  <Override PartName="/ppt/tags/tag54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8.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9.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18" r:id="rId2"/>
    <p:sldMasterId id="2147483976" r:id="rId3"/>
    <p:sldMasterId id="2147483981" r:id="rId4"/>
  </p:sldMasterIdLst>
  <p:notesMasterIdLst>
    <p:notesMasterId r:id="rId38"/>
  </p:notesMasterIdLst>
  <p:sldIdLst>
    <p:sldId id="259" r:id="rId5"/>
    <p:sldId id="265" r:id="rId6"/>
    <p:sldId id="271" r:id="rId7"/>
    <p:sldId id="277" r:id="rId8"/>
    <p:sldId id="283" r:id="rId9"/>
    <p:sldId id="289" r:id="rId10"/>
    <p:sldId id="295" r:id="rId11"/>
    <p:sldId id="301" r:id="rId12"/>
    <p:sldId id="307" r:id="rId13"/>
    <p:sldId id="313" r:id="rId14"/>
    <p:sldId id="319" r:id="rId15"/>
    <p:sldId id="325" r:id="rId16"/>
    <p:sldId id="331" r:id="rId17"/>
    <p:sldId id="337" r:id="rId18"/>
    <p:sldId id="343" r:id="rId19"/>
    <p:sldId id="349" r:id="rId20"/>
    <p:sldId id="355" r:id="rId21"/>
    <p:sldId id="361" r:id="rId22"/>
    <p:sldId id="367" r:id="rId23"/>
    <p:sldId id="373" r:id="rId24"/>
    <p:sldId id="379" r:id="rId25"/>
    <p:sldId id="385" r:id="rId26"/>
    <p:sldId id="391" r:id="rId27"/>
    <p:sldId id="397" r:id="rId28"/>
    <p:sldId id="403" r:id="rId29"/>
    <p:sldId id="409" r:id="rId30"/>
    <p:sldId id="415" r:id="rId31"/>
    <p:sldId id="421" r:id="rId32"/>
    <p:sldId id="427" r:id="rId33"/>
    <p:sldId id="433" r:id="rId34"/>
    <p:sldId id="439" r:id="rId35"/>
    <p:sldId id="445" r:id="rId36"/>
    <p:sldId id="451" r:id="rId37"/>
  </p:sldIdLst>
  <p:sldSz cx="9144000" cy="6858000" type="screen4x3"/>
  <p:notesSz cx="6858000" cy="9144000"/>
  <p:custDataLst>
    <p:tags r:id="rId39"/>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1" d="100"/>
          <a:sy n="101" d="100"/>
        </p:scale>
        <p:origin x="636" y="102"/>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_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_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_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_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___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___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____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___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9"/>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농수산물판매점</c:v>
                </c:pt>
                <c:pt idx="1">
                  <c:v>곶자왈도립공원</c:v>
                </c:pt>
                <c:pt idx="2">
                  <c:v>산방산유람선</c:v>
                </c:pt>
                <c:pt idx="3">
                  <c:v>카멜리라힐</c:v>
                </c:pt>
                <c:pt idx="4">
                  <c:v>주상절리</c:v>
                </c:pt>
                <c:pt idx="5">
                  <c:v>성읍 민속마을</c:v>
                </c:pt>
                <c:pt idx="6">
                  <c:v>섭지코지</c:v>
                </c:pt>
                <c:pt idx="7">
                  <c:v>한울랜드</c:v>
                </c:pt>
                <c:pt idx="8">
                  <c:v>용두암</c:v>
                </c:pt>
                <c:pt idx="9">
                  <c:v>아쿠아플라넷</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2</c:v>
                </c:pt>
              </c:numCache>
            </c:numRef>
          </c:val>
        </c:ser>
        <c:dLbls>
          <c:showLegendKey val="0"/>
          <c:showVal val="0"/>
          <c:showCatName val="0"/>
          <c:showSerName val="0"/>
          <c:showPercent val="0"/>
          <c:showBubbleSize val="0"/>
        </c:dLbls>
        <c:gapWidth val="100"/>
        <c:axId val="682037880"/>
        <c:axId val="672009944"/>
      </c:barChart>
      <c:catAx>
        <c:axId val="682037880"/>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672009944"/>
        <c:crosses val="autoZero"/>
        <c:auto val="0"/>
        <c:lblAlgn val="ctr"/>
        <c:lblOffset val="100"/>
        <c:noMultiLvlLbl val="0"/>
      </c:catAx>
      <c:valAx>
        <c:axId val="672009944"/>
        <c:scaling>
          <c:orientation val="minMax"/>
        </c:scaling>
        <c:delete val="1"/>
        <c:axPos val="b"/>
        <c:numFmt formatCode="General" sourceLinked="1"/>
        <c:majorTickMark val="out"/>
        <c:minorTickMark val="none"/>
        <c:tickLblPos val="nextTo"/>
        <c:crossAx val="682037880"/>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열1</c:v>
                </c:pt>
              </c:strCache>
            </c:strRef>
          </c:tx>
          <c:spPr>
            <a:solidFill>
              <a:schemeClr val="bg1">
                <a:lumMod val="85000"/>
              </a:schemeClr>
            </a:solidFill>
            <a:ln>
              <a:solidFill>
                <a:schemeClr val="bg1">
                  <a:lumMod val="50000"/>
                </a:schemeClr>
              </a:solidFill>
            </a:ln>
          </c:spPr>
          <c:invertIfNegative val="0"/>
          <c:dPt>
            <c:idx val="1"/>
            <c:invertIfNegative val="0"/>
            <c:bubble3D val="0"/>
            <c:spPr>
              <a:noFill/>
              <a:ln>
                <a:solidFill>
                  <a:schemeClr val="bg1">
                    <a:lumMod val="50000"/>
                  </a:schemeClr>
                </a:solidFill>
              </a:ln>
            </c:spPr>
          </c:dPt>
          <c:dPt>
            <c:idx val="2"/>
            <c:invertIfNegative val="0"/>
            <c:bubble3D val="0"/>
            <c:spPr>
              <a:noFill/>
              <a:ln>
                <a:solidFill>
                  <a:schemeClr val="bg1">
                    <a:lumMod val="50000"/>
                  </a:schemeClr>
                </a:solidFill>
              </a:ln>
            </c:spPr>
          </c:dPt>
          <c:dPt>
            <c:idx val="3"/>
            <c:invertIfNegative val="0"/>
            <c:bubble3D val="0"/>
            <c:spPr>
              <a:noFill/>
              <a:ln>
                <a:solidFill>
                  <a:schemeClr val="bg1">
                    <a:lumMod val="50000"/>
                  </a:schemeClr>
                </a:solidFill>
              </a:ln>
            </c:spPr>
          </c:dPt>
          <c:dPt>
            <c:idx val="4"/>
            <c:invertIfNegative val="0"/>
            <c:bubble3D val="0"/>
            <c:spPr>
              <a:noFill/>
              <a:ln>
                <a:solidFill>
                  <a:schemeClr val="bg1">
                    <a:lumMod val="50000"/>
                  </a:schemeClr>
                </a:solidFill>
              </a:ln>
            </c:spPr>
          </c:dPt>
          <c:dPt>
            <c:idx val="5"/>
            <c:invertIfNegative val="0"/>
            <c:bubble3D val="0"/>
            <c:spPr>
              <a:noFill/>
              <a:ln>
                <a:solidFill>
                  <a:schemeClr val="bg1">
                    <a:lumMod val="50000"/>
                  </a:schemeClr>
                </a:solidFill>
              </a:ln>
            </c:spPr>
          </c:dPt>
          <c:dPt>
            <c:idx val="6"/>
            <c:invertIfNegative val="0"/>
            <c:bubble3D val="0"/>
            <c:spPr>
              <a:noFill/>
              <a:ln>
                <a:solidFill>
                  <a:schemeClr val="bg1">
                    <a:lumMod val="50000"/>
                  </a:schemeClr>
                </a:solidFill>
              </a:ln>
            </c:spPr>
          </c:dPt>
          <c:dPt>
            <c:idx val="7"/>
            <c:invertIfNegative val="0"/>
            <c:bubble3D val="0"/>
            <c:spPr>
              <a:no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1">
                  <c:v>한울랜드</c:v>
                </c:pt>
                <c:pt idx="2">
                  <c:v>포니밸리</c:v>
                </c:pt>
                <c:pt idx="3">
                  <c:v>에코랜드</c:v>
                </c:pt>
                <c:pt idx="4">
                  <c:v>수월봉</c:v>
                </c:pt>
                <c:pt idx="5">
                  <c:v>수목원테마파크</c:v>
                </c:pt>
                <c:pt idx="6">
                  <c:v>관광농원</c:v>
                </c:pt>
                <c:pt idx="7">
                  <c:v>용두암</c:v>
                </c:pt>
                <c:pt idx="8">
                  <c:v>카멜리아힐</c:v>
                </c:pt>
                <c:pt idx="9">
                  <c:v>아쿠아플라넷</c:v>
                </c:pt>
                <c:pt idx="10">
                  <c:v>승마체험</c:v>
                </c:pt>
                <c:pt idx="11">
                  <c:v>농수산물센터</c:v>
                </c:pt>
                <c:pt idx="12">
                  <c:v>성읍민속마을</c:v>
                </c:pt>
              </c:strCache>
            </c:strRef>
          </c:cat>
          <c:val>
            <c:numRef>
              <c:f>Sheet1!$B$2:$B$14</c:f>
              <c:numCache>
                <c:formatCode>General</c:formatCode>
                <c:ptCount val="13"/>
                <c:pt idx="1">
                  <c:v>4</c:v>
                </c:pt>
                <c:pt idx="2">
                  <c:v>4</c:v>
                </c:pt>
                <c:pt idx="3">
                  <c:v>4</c:v>
                </c:pt>
                <c:pt idx="4">
                  <c:v>4</c:v>
                </c:pt>
                <c:pt idx="5">
                  <c:v>4</c:v>
                </c:pt>
                <c:pt idx="6">
                  <c:v>4</c:v>
                </c:pt>
                <c:pt idx="7">
                  <c:v>5</c:v>
                </c:pt>
                <c:pt idx="8">
                  <c:v>6</c:v>
                </c:pt>
                <c:pt idx="9">
                  <c:v>8</c:v>
                </c:pt>
                <c:pt idx="10">
                  <c:v>8</c:v>
                </c:pt>
                <c:pt idx="11">
                  <c:v>8</c:v>
                </c:pt>
                <c:pt idx="12">
                  <c:v>8</c:v>
                </c:pt>
              </c:numCache>
            </c:numRef>
          </c:val>
        </c:ser>
        <c:dLbls>
          <c:showLegendKey val="0"/>
          <c:showVal val="0"/>
          <c:showCatName val="0"/>
          <c:showSerName val="0"/>
          <c:showPercent val="0"/>
          <c:showBubbleSize val="0"/>
        </c:dLbls>
        <c:gapWidth val="100"/>
        <c:axId val="672010728"/>
        <c:axId val="672011120"/>
      </c:barChart>
      <c:catAx>
        <c:axId val="672010728"/>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672011120"/>
        <c:crosses val="autoZero"/>
        <c:auto val="0"/>
        <c:lblAlgn val="ctr"/>
        <c:lblOffset val="100"/>
        <c:noMultiLvlLbl val="0"/>
      </c:catAx>
      <c:valAx>
        <c:axId val="672011120"/>
        <c:scaling>
          <c:orientation val="minMax"/>
        </c:scaling>
        <c:delete val="1"/>
        <c:axPos val="b"/>
        <c:numFmt formatCode="General" sourceLinked="1"/>
        <c:majorTickMark val="out"/>
        <c:minorTickMark val="none"/>
        <c:tickLblPos val="nextTo"/>
        <c:crossAx val="672010728"/>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3"/>
            <c:invertIfNegative val="0"/>
            <c:bubble3D val="0"/>
            <c:spPr>
              <a:solidFill>
                <a:schemeClr val="bg1">
                  <a:lumMod val="85000"/>
                </a:schemeClr>
              </a:solidFill>
              <a:ln>
                <a:solidFill>
                  <a:schemeClr val="bg1">
                    <a:lumMod val="50000"/>
                  </a:schemeClr>
                </a:solidFill>
              </a:ln>
            </c:spPr>
          </c:dPt>
          <c:dPt>
            <c:idx val="4"/>
            <c:invertIfNegative val="0"/>
            <c:bubble3D val="0"/>
            <c:spPr>
              <a:solidFill>
                <a:schemeClr val="bg1">
                  <a:lumMod val="85000"/>
                </a:schemeClr>
              </a:solidFill>
              <a:ln>
                <a:solidFill>
                  <a:schemeClr val="bg1">
                    <a:lumMod val="50000"/>
                  </a:schemeClr>
                </a:solidFill>
              </a:ln>
            </c:spPr>
          </c:dPt>
          <c:dPt>
            <c:idx val="5"/>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트릭아이박물관</c:v>
                </c:pt>
                <c:pt idx="1">
                  <c:v>수목원테마파크</c:v>
                </c:pt>
                <c:pt idx="2">
                  <c:v>롯데면세점</c:v>
                </c:pt>
                <c:pt idx="3">
                  <c:v>민속박물관</c:v>
                </c:pt>
                <c:pt idx="4">
                  <c:v>테디베어뮤지엄</c:v>
                </c:pt>
                <c:pt idx="5">
                  <c:v>신라면세점</c:v>
                </c:pt>
              </c:strCache>
            </c:strRef>
          </c:cat>
          <c:val>
            <c:numRef>
              <c:f>Sheet1!$B$2:$B$7</c:f>
              <c:numCache>
                <c:formatCode>General</c:formatCode>
                <c:ptCount val="6"/>
                <c:pt idx="0">
                  <c:v>1</c:v>
                </c:pt>
                <c:pt idx="1">
                  <c:v>1</c:v>
                </c:pt>
                <c:pt idx="2">
                  <c:v>1</c:v>
                </c:pt>
                <c:pt idx="3">
                  <c:v>2</c:v>
                </c:pt>
                <c:pt idx="4">
                  <c:v>2</c:v>
                </c:pt>
                <c:pt idx="5">
                  <c:v>3</c:v>
                </c:pt>
              </c:numCache>
            </c:numRef>
          </c:val>
        </c:ser>
        <c:dLbls>
          <c:showLegendKey val="0"/>
          <c:showVal val="0"/>
          <c:showCatName val="0"/>
          <c:showSerName val="0"/>
          <c:showPercent val="0"/>
          <c:showBubbleSize val="0"/>
        </c:dLbls>
        <c:gapWidth val="100"/>
        <c:axId val="485940280"/>
        <c:axId val="485940672"/>
      </c:barChart>
      <c:catAx>
        <c:axId val="485940280"/>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485940672"/>
        <c:crosses val="autoZero"/>
        <c:auto val="0"/>
        <c:lblAlgn val="ctr"/>
        <c:lblOffset val="100"/>
        <c:noMultiLvlLbl val="0"/>
      </c:catAx>
      <c:valAx>
        <c:axId val="485940672"/>
        <c:scaling>
          <c:orientation val="minMax"/>
        </c:scaling>
        <c:delete val="1"/>
        <c:axPos val="b"/>
        <c:numFmt formatCode="General" sourceLinked="1"/>
        <c:majorTickMark val="out"/>
        <c:minorTickMark val="none"/>
        <c:tickLblPos val="nextTo"/>
        <c:crossAx val="485940280"/>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11"/>
            <c:invertIfNegative val="0"/>
            <c:bubble3D val="0"/>
            <c:spPr>
              <a:solidFill>
                <a:schemeClr val="bg1">
                  <a:lumMod val="85000"/>
                </a:schemeClr>
              </a:solidFill>
              <a:ln>
                <a:solidFill>
                  <a:schemeClr val="bg1">
                    <a:lumMod val="50000"/>
                  </a:schemeClr>
                </a:solidFill>
              </a:ln>
            </c:spPr>
          </c:dPt>
          <c:dPt>
            <c:idx val="12"/>
            <c:invertIfNegative val="0"/>
            <c:bubble3D val="0"/>
            <c:spPr>
              <a:solidFill>
                <a:schemeClr val="bg1">
                  <a:lumMod val="85000"/>
                </a:schemeClr>
              </a:solidFill>
              <a:ln>
                <a:solidFill>
                  <a:schemeClr val="bg1">
                    <a:lumMod val="50000"/>
                  </a:schemeClr>
                </a:solidFill>
              </a:ln>
            </c:spPr>
          </c:dPt>
          <c:dPt>
            <c:idx val="13"/>
            <c:invertIfNegative val="0"/>
            <c:bubble3D val="0"/>
            <c:spPr>
              <a:solidFill>
                <a:schemeClr val="bg1">
                  <a:lumMod val="85000"/>
                </a:schemeClr>
              </a:solidFill>
              <a:ln>
                <a:solidFill>
                  <a:schemeClr val="bg1">
                    <a:lumMod val="50000"/>
                  </a:schemeClr>
                </a:solidFill>
              </a:ln>
            </c:spPr>
          </c:dPt>
          <c:dPt>
            <c:idx val="14"/>
            <c:invertIfNegative val="0"/>
            <c:bubble3D val="0"/>
            <c:spPr>
              <a:solidFill>
                <a:schemeClr val="bg1">
                  <a:lumMod val="85000"/>
                </a:schemeClr>
              </a:solidFill>
              <a:ln>
                <a:solidFill>
                  <a:schemeClr val="bg1">
                    <a:lumMod val="50000"/>
                  </a:schemeClr>
                </a:solidFill>
              </a:ln>
            </c:spPr>
          </c:dPt>
          <c:dPt>
            <c:idx val="15"/>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미라클아트뮤지엄</c:v>
                </c:pt>
                <c:pt idx="1">
                  <c:v>공연</c:v>
                </c:pt>
                <c:pt idx="2">
                  <c:v>동문시장</c:v>
                </c:pt>
                <c:pt idx="3">
                  <c:v>바오젠거리</c:v>
                </c:pt>
                <c:pt idx="4">
                  <c:v>신라면세점</c:v>
                </c:pt>
                <c:pt idx="5">
                  <c:v>에코랜드</c:v>
                </c:pt>
                <c:pt idx="6">
                  <c:v>우도</c:v>
                </c:pt>
                <c:pt idx="7">
                  <c:v>캐릭월드</c:v>
                </c:pt>
                <c:pt idx="8">
                  <c:v>한증막</c:v>
                </c:pt>
                <c:pt idx="9">
                  <c:v>신비의도로</c:v>
                </c:pt>
                <c:pt idx="10">
                  <c:v>한라산</c:v>
                </c:pt>
                <c:pt idx="11">
                  <c:v>성읍민속마을</c:v>
                </c:pt>
                <c:pt idx="12">
                  <c:v>용두암</c:v>
                </c:pt>
                <c:pt idx="13">
                  <c:v>테디베어뮤지엄</c:v>
                </c:pt>
                <c:pt idx="14">
                  <c:v>섭지코지</c:v>
                </c:pt>
                <c:pt idx="15">
                  <c:v>성산일출봉</c:v>
                </c:pt>
              </c:strCache>
            </c:strRef>
          </c:cat>
          <c:val>
            <c:numRef>
              <c:f>Sheet1!$B$2:$B$17</c:f>
              <c:numCache>
                <c:formatCode>General</c:formatCode>
                <c:ptCount val="16"/>
                <c:pt idx="0">
                  <c:v>1</c:v>
                </c:pt>
                <c:pt idx="1">
                  <c:v>1</c:v>
                </c:pt>
                <c:pt idx="2">
                  <c:v>1</c:v>
                </c:pt>
                <c:pt idx="3">
                  <c:v>1</c:v>
                </c:pt>
                <c:pt idx="4">
                  <c:v>1</c:v>
                </c:pt>
                <c:pt idx="5">
                  <c:v>1</c:v>
                </c:pt>
                <c:pt idx="6">
                  <c:v>1</c:v>
                </c:pt>
                <c:pt idx="7">
                  <c:v>1</c:v>
                </c:pt>
                <c:pt idx="8">
                  <c:v>1</c:v>
                </c:pt>
                <c:pt idx="9">
                  <c:v>2</c:v>
                </c:pt>
                <c:pt idx="10">
                  <c:v>2</c:v>
                </c:pt>
                <c:pt idx="11">
                  <c:v>4</c:v>
                </c:pt>
                <c:pt idx="12">
                  <c:v>4</c:v>
                </c:pt>
                <c:pt idx="13">
                  <c:v>5</c:v>
                </c:pt>
                <c:pt idx="14">
                  <c:v>6</c:v>
                </c:pt>
                <c:pt idx="15">
                  <c:v>6</c:v>
                </c:pt>
              </c:numCache>
            </c:numRef>
          </c:val>
        </c:ser>
        <c:dLbls>
          <c:showLegendKey val="0"/>
          <c:showVal val="0"/>
          <c:showCatName val="0"/>
          <c:showSerName val="0"/>
          <c:showPercent val="0"/>
          <c:showBubbleSize val="0"/>
        </c:dLbls>
        <c:gapWidth val="100"/>
        <c:axId val="485941456"/>
        <c:axId val="686017240"/>
      </c:barChart>
      <c:catAx>
        <c:axId val="485941456"/>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686017240"/>
        <c:crosses val="autoZero"/>
        <c:auto val="0"/>
        <c:lblAlgn val="ctr"/>
        <c:lblOffset val="100"/>
        <c:noMultiLvlLbl val="0"/>
      </c:catAx>
      <c:valAx>
        <c:axId val="686017240"/>
        <c:scaling>
          <c:orientation val="minMax"/>
        </c:scaling>
        <c:delete val="1"/>
        <c:axPos val="b"/>
        <c:numFmt formatCode="General" sourceLinked="1"/>
        <c:majorTickMark val="out"/>
        <c:minorTickMark val="none"/>
        <c:tickLblPos val="nextTo"/>
        <c:crossAx val="485941456"/>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열1</c:v>
                </c:pt>
              </c:strCache>
            </c:strRef>
          </c:tx>
          <c:spPr>
            <a:noFill/>
            <a:ln>
              <a:solidFill>
                <a:schemeClr val="bg1">
                  <a:lumMod val="50000"/>
                </a:schemeClr>
              </a:solidFill>
            </a:ln>
          </c:spPr>
          <c:invertIfNegative val="0"/>
          <c:dPt>
            <c:idx val="8"/>
            <c:invertIfNegative val="0"/>
            <c:bubble3D val="0"/>
            <c:spPr>
              <a:solidFill>
                <a:schemeClr val="bg1">
                  <a:lumMod val="85000"/>
                </a:schemeClr>
              </a:solidFill>
              <a:ln>
                <a:solidFill>
                  <a:schemeClr val="bg1">
                    <a:lumMod val="50000"/>
                  </a:schemeClr>
                </a:solidFill>
              </a:ln>
            </c:spPr>
          </c:dPt>
          <c:dPt>
            <c:idx val="9"/>
            <c:invertIfNegative val="0"/>
            <c:bubble3D val="0"/>
            <c:spPr>
              <a:solidFill>
                <a:schemeClr val="bg1">
                  <a:lumMod val="85000"/>
                </a:schemeClr>
              </a:solidFill>
              <a:ln>
                <a:solidFill>
                  <a:schemeClr val="bg1">
                    <a:lumMod val="50000"/>
                  </a:schemeClr>
                </a:solidFill>
              </a:ln>
            </c:spPr>
          </c:dPt>
          <c:dPt>
            <c:idx val="10"/>
            <c:invertIfNegative val="0"/>
            <c:bubble3D val="0"/>
            <c:spPr>
              <a:solidFill>
                <a:schemeClr val="bg1">
                  <a:lumMod val="85000"/>
                </a:schemeClr>
              </a:solidFill>
              <a:ln>
                <a:solidFill>
                  <a:schemeClr val="bg1">
                    <a:lumMod val="50000"/>
                  </a:schemeClr>
                </a:solidFill>
              </a:ln>
            </c:spPr>
          </c:dPt>
          <c:dPt>
            <c:idx val="11"/>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난타쇼</c:v>
                </c:pt>
                <c:pt idx="1">
                  <c:v>제주민속박물관</c:v>
                </c:pt>
                <c:pt idx="2">
                  <c:v>성읍민속마을</c:v>
                </c:pt>
                <c:pt idx="3">
                  <c:v>신비의도로</c:v>
                </c:pt>
                <c:pt idx="4">
                  <c:v>용연</c:v>
                </c:pt>
                <c:pt idx="5">
                  <c:v>정방폭포</c:v>
                </c:pt>
                <c:pt idx="6">
                  <c:v>한라산</c:v>
                </c:pt>
                <c:pt idx="7">
                  <c:v>한라수목원</c:v>
                </c:pt>
                <c:pt idx="8">
                  <c:v>섭지코지</c:v>
                </c:pt>
                <c:pt idx="9">
                  <c:v>성산일출봉</c:v>
                </c:pt>
                <c:pt idx="10">
                  <c:v>용두암</c:v>
                </c:pt>
                <c:pt idx="11">
                  <c:v>테디베어뮤지엄</c:v>
                </c:pt>
              </c:strCache>
            </c:strRef>
          </c:cat>
          <c:val>
            <c:numRef>
              <c:f>Sheet1!$B$2:$B$13</c:f>
              <c:numCache>
                <c:formatCode>General</c:formatCode>
                <c:ptCount val="12"/>
                <c:pt idx="0">
                  <c:v>1</c:v>
                </c:pt>
                <c:pt idx="1">
                  <c:v>1</c:v>
                </c:pt>
                <c:pt idx="2">
                  <c:v>1</c:v>
                </c:pt>
                <c:pt idx="3">
                  <c:v>1</c:v>
                </c:pt>
                <c:pt idx="4">
                  <c:v>1</c:v>
                </c:pt>
                <c:pt idx="5">
                  <c:v>1</c:v>
                </c:pt>
                <c:pt idx="6">
                  <c:v>1</c:v>
                </c:pt>
                <c:pt idx="7">
                  <c:v>1</c:v>
                </c:pt>
                <c:pt idx="8">
                  <c:v>2</c:v>
                </c:pt>
                <c:pt idx="9">
                  <c:v>2</c:v>
                </c:pt>
                <c:pt idx="10">
                  <c:v>2</c:v>
                </c:pt>
                <c:pt idx="11">
                  <c:v>2</c:v>
                </c:pt>
              </c:numCache>
            </c:numRef>
          </c:val>
        </c:ser>
        <c:dLbls>
          <c:showLegendKey val="0"/>
          <c:showVal val="0"/>
          <c:showCatName val="0"/>
          <c:showSerName val="0"/>
          <c:showPercent val="0"/>
          <c:showBubbleSize val="0"/>
        </c:dLbls>
        <c:gapWidth val="100"/>
        <c:axId val="686018024"/>
        <c:axId val="686018416"/>
      </c:barChart>
      <c:catAx>
        <c:axId val="686018024"/>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686018416"/>
        <c:crosses val="autoZero"/>
        <c:auto val="0"/>
        <c:lblAlgn val="ctr"/>
        <c:lblOffset val="100"/>
        <c:noMultiLvlLbl val="0"/>
      </c:catAx>
      <c:valAx>
        <c:axId val="686018416"/>
        <c:scaling>
          <c:orientation val="minMax"/>
        </c:scaling>
        <c:delete val="1"/>
        <c:axPos val="b"/>
        <c:numFmt formatCode="General" sourceLinked="1"/>
        <c:majorTickMark val="out"/>
        <c:minorTickMark val="none"/>
        <c:tickLblPos val="nextTo"/>
        <c:crossAx val="686018024"/>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열1</c:v>
                </c:pt>
              </c:strCache>
            </c:strRef>
          </c:tx>
          <c:spPr>
            <a:noFill/>
            <a:ln>
              <a:solidFill>
                <a:schemeClr val="bg1">
                  <a:lumMod val="50000"/>
                </a:schemeClr>
              </a:solidFill>
            </a:ln>
          </c:spPr>
          <c:invertIfNegative val="0"/>
          <c:dPt>
            <c:idx val="16"/>
            <c:invertIfNegative val="0"/>
            <c:bubble3D val="0"/>
            <c:spPr>
              <a:solidFill>
                <a:schemeClr val="bg1">
                  <a:lumMod val="85000"/>
                </a:schemeClr>
              </a:solidFill>
              <a:ln>
                <a:solidFill>
                  <a:schemeClr val="bg1">
                    <a:lumMod val="50000"/>
                  </a:schemeClr>
                </a:solidFill>
              </a:ln>
            </c:spPr>
          </c:dPt>
          <c:dPt>
            <c:idx val="17"/>
            <c:invertIfNegative val="0"/>
            <c:bubble3D val="0"/>
            <c:spPr>
              <a:solidFill>
                <a:schemeClr val="bg1">
                  <a:lumMod val="85000"/>
                </a:schemeClr>
              </a:solidFill>
              <a:ln>
                <a:solidFill>
                  <a:schemeClr val="bg1">
                    <a:lumMod val="50000"/>
                  </a:schemeClr>
                </a:solidFill>
              </a:ln>
            </c:spPr>
          </c:dPt>
          <c:dPt>
            <c:idx val="18"/>
            <c:invertIfNegative val="0"/>
            <c:bubble3D val="0"/>
            <c:spPr>
              <a:solidFill>
                <a:schemeClr val="bg1">
                  <a:lumMod val="85000"/>
                </a:schemeClr>
              </a:solidFill>
              <a:ln>
                <a:solidFill>
                  <a:schemeClr val="bg1">
                    <a:lumMod val="50000"/>
                  </a:schemeClr>
                </a:solidFill>
              </a:ln>
            </c:spPr>
          </c:dPt>
          <c:dPt>
            <c:idx val="19"/>
            <c:invertIfNegative val="0"/>
            <c:bubble3D val="0"/>
            <c:spPr>
              <a:solidFill>
                <a:schemeClr val="bg1">
                  <a:lumMod val="85000"/>
                </a:schemeClr>
              </a:solidFill>
              <a:ln>
                <a:solidFill>
                  <a:schemeClr val="bg1">
                    <a:lumMod val="50000"/>
                  </a:schemeClr>
                </a:solidFill>
              </a:ln>
            </c:spPr>
          </c:dPt>
          <c:dPt>
            <c:idx val="20"/>
            <c:invertIfNegative val="0"/>
            <c:bubble3D val="0"/>
            <c:spPr>
              <a:solidFill>
                <a:schemeClr val="bg1">
                  <a:lumMod val="85000"/>
                </a:schemeClr>
              </a:solidFill>
              <a:ln>
                <a:solidFill>
                  <a:schemeClr val="bg1">
                    <a:lumMod val="50000"/>
                  </a:schemeClr>
                </a:solidFill>
              </a:ln>
            </c:spPr>
          </c:dPt>
          <c:dPt>
            <c:idx val="21"/>
            <c:invertIfNegative val="0"/>
            <c:bubble3D val="0"/>
            <c:spPr>
              <a:solidFill>
                <a:schemeClr val="bg1">
                  <a:lumMod val="85000"/>
                </a:schemeClr>
              </a:solidFill>
              <a:ln>
                <a:solidFill>
                  <a:schemeClr val="bg1">
                    <a:lumMod val="50000"/>
                  </a:schemeClr>
                </a:solidFill>
              </a:ln>
            </c:spPr>
          </c:dPt>
          <c:dPt>
            <c:idx val="22"/>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4</c:f>
              <c:strCache>
                <c:ptCount val="23"/>
                <c:pt idx="1">
                  <c:v>트릭아이박물관</c:v>
                </c:pt>
                <c:pt idx="2">
                  <c:v>김치스쿨</c:v>
                </c:pt>
                <c:pt idx="3">
                  <c:v>난타쇼</c:v>
                </c:pt>
                <c:pt idx="4">
                  <c:v>오설록티박물관</c:v>
                </c:pt>
                <c:pt idx="5">
                  <c:v>인삼전시장</c:v>
                </c:pt>
                <c:pt idx="6">
                  <c:v>천제연폭포</c:v>
                </c:pt>
                <c:pt idx="7">
                  <c:v>한라산</c:v>
                </c:pt>
                <c:pt idx="8">
                  <c:v>헬로키티테마파크</c:v>
                </c:pt>
                <c:pt idx="9">
                  <c:v>바오젠거리</c:v>
                </c:pt>
                <c:pt idx="10">
                  <c:v>제주민속박물관</c:v>
                </c:pt>
                <c:pt idx="11">
                  <c:v>산굼부리</c:v>
                </c:pt>
                <c:pt idx="12">
                  <c:v>새섬다리</c:v>
                </c:pt>
                <c:pt idx="13">
                  <c:v>신비의도로</c:v>
                </c:pt>
                <c:pt idx="14">
                  <c:v>유리의성</c:v>
                </c:pt>
                <c:pt idx="15">
                  <c:v>허브매장</c:v>
                </c:pt>
                <c:pt idx="16">
                  <c:v>롯데면세점</c:v>
                </c:pt>
                <c:pt idx="17">
                  <c:v>한라수목원</c:v>
                </c:pt>
                <c:pt idx="18">
                  <c:v>섭지코지</c:v>
                </c:pt>
                <c:pt idx="19">
                  <c:v>신라면세점</c:v>
                </c:pt>
                <c:pt idx="20">
                  <c:v>용두암</c:v>
                </c:pt>
                <c:pt idx="21">
                  <c:v>성산일출봉</c:v>
                </c:pt>
                <c:pt idx="22">
                  <c:v>테디베어뮤지엄</c:v>
                </c:pt>
              </c:strCache>
            </c:strRef>
          </c:cat>
          <c:val>
            <c:numRef>
              <c:f>Sheet1!$B$2:$B$24</c:f>
              <c:numCache>
                <c:formatCode>General</c:formatCode>
                <c:ptCount val="23"/>
                <c:pt idx="1">
                  <c:v>2</c:v>
                </c:pt>
                <c:pt idx="2">
                  <c:v>2</c:v>
                </c:pt>
                <c:pt idx="3">
                  <c:v>2</c:v>
                </c:pt>
                <c:pt idx="4">
                  <c:v>2</c:v>
                </c:pt>
                <c:pt idx="5">
                  <c:v>2</c:v>
                </c:pt>
                <c:pt idx="6">
                  <c:v>2</c:v>
                </c:pt>
                <c:pt idx="7">
                  <c:v>2</c:v>
                </c:pt>
                <c:pt idx="8">
                  <c:v>2</c:v>
                </c:pt>
                <c:pt idx="9">
                  <c:v>3</c:v>
                </c:pt>
                <c:pt idx="10">
                  <c:v>3</c:v>
                </c:pt>
                <c:pt idx="11">
                  <c:v>3</c:v>
                </c:pt>
                <c:pt idx="12">
                  <c:v>3</c:v>
                </c:pt>
                <c:pt idx="13">
                  <c:v>3</c:v>
                </c:pt>
                <c:pt idx="14">
                  <c:v>3</c:v>
                </c:pt>
                <c:pt idx="15">
                  <c:v>3</c:v>
                </c:pt>
                <c:pt idx="16">
                  <c:v>4</c:v>
                </c:pt>
                <c:pt idx="17">
                  <c:v>4</c:v>
                </c:pt>
                <c:pt idx="18">
                  <c:v>5</c:v>
                </c:pt>
                <c:pt idx="19">
                  <c:v>5</c:v>
                </c:pt>
                <c:pt idx="20">
                  <c:v>5</c:v>
                </c:pt>
                <c:pt idx="21">
                  <c:v>6</c:v>
                </c:pt>
                <c:pt idx="22">
                  <c:v>6</c:v>
                </c:pt>
              </c:numCache>
            </c:numRef>
          </c:val>
        </c:ser>
        <c:dLbls>
          <c:showLegendKey val="0"/>
          <c:showVal val="0"/>
          <c:showCatName val="0"/>
          <c:showSerName val="0"/>
          <c:showPercent val="0"/>
          <c:showBubbleSize val="0"/>
        </c:dLbls>
        <c:gapWidth val="100"/>
        <c:axId val="685018736"/>
        <c:axId val="685019128"/>
      </c:barChart>
      <c:catAx>
        <c:axId val="685018736"/>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685019128"/>
        <c:crosses val="autoZero"/>
        <c:auto val="0"/>
        <c:lblAlgn val="ctr"/>
        <c:lblOffset val="100"/>
        <c:noMultiLvlLbl val="0"/>
      </c:catAx>
      <c:valAx>
        <c:axId val="685019128"/>
        <c:scaling>
          <c:orientation val="minMax"/>
        </c:scaling>
        <c:delete val="1"/>
        <c:axPos val="b"/>
        <c:numFmt formatCode="General" sourceLinked="1"/>
        <c:majorTickMark val="out"/>
        <c:minorTickMark val="none"/>
        <c:tickLblPos val="nextTo"/>
        <c:crossAx val="685018736"/>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04"/>
        </c:manualLayout>
      </c:layout>
      <c:barChart>
        <c:barDir val="bar"/>
        <c:grouping val="clustered"/>
        <c:varyColors val="0"/>
        <c:ser>
          <c:idx val="0"/>
          <c:order val="0"/>
          <c:tx>
            <c:strRef>
              <c:f>Sheet1!$B$1</c:f>
              <c:strCache>
                <c:ptCount val="1"/>
                <c:pt idx="0">
                  <c:v>열1</c:v>
                </c:pt>
              </c:strCache>
            </c:strRef>
          </c:tx>
          <c:spPr>
            <a:solidFill>
              <a:schemeClr val="bg1">
                <a:lumMod val="85000"/>
              </a:schemeClr>
            </a:solidFill>
            <a:ln>
              <a:solidFill>
                <a:schemeClr val="bg1">
                  <a:lumMod val="50000"/>
                </a:schemeClr>
              </a:solidFill>
            </a:ln>
          </c:spPr>
          <c:invertIfNegative val="0"/>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2</c:f>
              <c:strCache>
                <c:ptCount val="21"/>
                <c:pt idx="1">
                  <c:v>김박물관</c:v>
                </c:pt>
                <c:pt idx="2">
                  <c:v>김녕미로공원</c:v>
                </c:pt>
                <c:pt idx="3">
                  <c:v>면세점</c:v>
                </c:pt>
                <c:pt idx="4">
                  <c:v>제주민속박물관</c:v>
                </c:pt>
                <c:pt idx="5">
                  <c:v>바오젠거리</c:v>
                </c:pt>
                <c:pt idx="6">
                  <c:v>신비의도로</c:v>
                </c:pt>
                <c:pt idx="7">
                  <c:v>오설록티박물관</c:v>
                </c:pt>
                <c:pt idx="8">
                  <c:v>유리의성</c:v>
                </c:pt>
                <c:pt idx="9">
                  <c:v>허브매장</c:v>
                </c:pt>
                <c:pt idx="10">
                  <c:v>화장품매장</c:v>
                </c:pt>
                <c:pt idx="11">
                  <c:v>인삼전시장</c:v>
                </c:pt>
                <c:pt idx="12">
                  <c:v>섭지코지</c:v>
                </c:pt>
                <c:pt idx="13">
                  <c:v>성산일출봉</c:v>
                </c:pt>
                <c:pt idx="14">
                  <c:v>성읍민속마을</c:v>
                </c:pt>
                <c:pt idx="15">
                  <c:v>올레길</c:v>
                </c:pt>
                <c:pt idx="16">
                  <c:v>외돌개</c:v>
                </c:pt>
                <c:pt idx="17">
                  <c:v>용두암</c:v>
                </c:pt>
                <c:pt idx="18">
                  <c:v>자동차박물관</c:v>
                </c:pt>
                <c:pt idx="19">
                  <c:v>테디베어뮤지엄</c:v>
                </c:pt>
                <c:pt idx="20">
                  <c:v>한라수목원</c:v>
                </c:pt>
              </c:strCache>
            </c:strRef>
          </c:cat>
          <c:val>
            <c:numRef>
              <c:f>Sheet1!$B$2:$B$22</c:f>
              <c:numCache>
                <c:formatCode>General</c:formatCode>
                <c:ptCount val="21"/>
                <c:pt idx="1">
                  <c:v>2</c:v>
                </c:pt>
                <c:pt idx="2">
                  <c:v>2</c:v>
                </c:pt>
                <c:pt idx="3">
                  <c:v>2</c:v>
                </c:pt>
                <c:pt idx="4">
                  <c:v>2</c:v>
                </c:pt>
                <c:pt idx="5">
                  <c:v>2</c:v>
                </c:pt>
                <c:pt idx="6">
                  <c:v>2</c:v>
                </c:pt>
                <c:pt idx="7">
                  <c:v>2</c:v>
                </c:pt>
                <c:pt idx="8">
                  <c:v>2</c:v>
                </c:pt>
                <c:pt idx="9">
                  <c:v>3</c:v>
                </c:pt>
                <c:pt idx="10">
                  <c:v>3</c:v>
                </c:pt>
                <c:pt idx="11">
                  <c:v>3</c:v>
                </c:pt>
                <c:pt idx="12">
                  <c:v>3</c:v>
                </c:pt>
                <c:pt idx="13">
                  <c:v>3</c:v>
                </c:pt>
                <c:pt idx="14">
                  <c:v>3</c:v>
                </c:pt>
                <c:pt idx="15">
                  <c:v>3</c:v>
                </c:pt>
                <c:pt idx="16">
                  <c:v>3</c:v>
                </c:pt>
                <c:pt idx="17">
                  <c:v>3</c:v>
                </c:pt>
                <c:pt idx="18">
                  <c:v>3</c:v>
                </c:pt>
                <c:pt idx="19">
                  <c:v>3</c:v>
                </c:pt>
                <c:pt idx="20">
                  <c:v>3</c:v>
                </c:pt>
              </c:numCache>
            </c:numRef>
          </c:val>
        </c:ser>
        <c:dLbls>
          <c:showLegendKey val="0"/>
          <c:showVal val="0"/>
          <c:showCatName val="0"/>
          <c:showSerName val="0"/>
          <c:showPercent val="0"/>
          <c:showBubbleSize val="0"/>
        </c:dLbls>
        <c:gapWidth val="100"/>
        <c:axId val="517400120"/>
        <c:axId val="517400512"/>
      </c:barChart>
      <c:catAx>
        <c:axId val="517400120"/>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517400512"/>
        <c:crosses val="autoZero"/>
        <c:auto val="0"/>
        <c:lblAlgn val="ctr"/>
        <c:lblOffset val="100"/>
        <c:noMultiLvlLbl val="0"/>
      </c:catAx>
      <c:valAx>
        <c:axId val="517400512"/>
        <c:scaling>
          <c:orientation val="minMax"/>
        </c:scaling>
        <c:delete val="1"/>
        <c:axPos val="b"/>
        <c:numFmt formatCode="General" sourceLinked="1"/>
        <c:majorTickMark val="out"/>
        <c:minorTickMark val="none"/>
        <c:tickLblPos val="nextTo"/>
        <c:crossAx val="517400120"/>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27590394020081"/>
          <c:y val="0.1327347457408905"/>
          <c:w val="0.49956592917442322"/>
          <c:h val="0.83284300565719604"/>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3"/>
            <c:invertIfNegative val="0"/>
            <c:bubble3D val="0"/>
            <c:spPr>
              <a:solidFill>
                <a:schemeClr val="bg1">
                  <a:lumMod val="85000"/>
                </a:schemeClr>
              </a:solidFill>
              <a:ln>
                <a:solidFill>
                  <a:schemeClr val="bg1">
                    <a:lumMod val="50000"/>
                  </a:schemeClr>
                </a:solidFill>
              </a:ln>
            </c:spPr>
          </c:dPt>
          <c:dPt>
            <c:idx val="4"/>
            <c:invertIfNegative val="0"/>
            <c:bubble3D val="0"/>
            <c:spPr>
              <a:solidFill>
                <a:schemeClr val="bg1">
                  <a:lumMod val="85000"/>
                </a:schemeClr>
              </a:solidFill>
              <a:ln>
                <a:solidFill>
                  <a:schemeClr val="bg1">
                    <a:lumMod val="50000"/>
                  </a:schemeClr>
                </a:solidFill>
              </a:ln>
            </c:spPr>
          </c:dPt>
          <c:dPt>
            <c:idx val="5"/>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Sheet1!$A$2:$A$6</c:f>
            </c:multiLvlStrRef>
          </c:cat>
          <c:val>
            <c:numRef>
              <c:f>Sheet1!$B$2:$B$6</c:f>
              <c:numCache>
                <c:formatCode>General</c:formatCode>
                <c:ptCount val="5"/>
                <c:pt idx="0">
                  <c:v>1</c:v>
                </c:pt>
                <c:pt idx="1">
                  <c:v>2</c:v>
                </c:pt>
                <c:pt idx="2">
                  <c:v>3</c:v>
                </c:pt>
                <c:pt idx="3">
                  <c:v>4</c:v>
                </c:pt>
                <c:pt idx="4">
                  <c:v>5</c:v>
                </c:pt>
              </c:numCache>
            </c:numRef>
          </c:val>
        </c:ser>
        <c:dLbls>
          <c:showLegendKey val="0"/>
          <c:showVal val="0"/>
          <c:showCatName val="0"/>
          <c:showSerName val="0"/>
          <c:showPercent val="0"/>
          <c:showBubbleSize val="0"/>
        </c:dLbls>
        <c:gapWidth val="100"/>
        <c:axId val="517400904"/>
        <c:axId val="517401296"/>
      </c:barChart>
      <c:catAx>
        <c:axId val="517400904"/>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517401296"/>
        <c:crosses val="autoZero"/>
        <c:auto val="0"/>
        <c:lblAlgn val="ctr"/>
        <c:lblOffset val="100"/>
        <c:noMultiLvlLbl val="0"/>
      </c:catAx>
      <c:valAx>
        <c:axId val="517401296"/>
        <c:scaling>
          <c:orientation val="minMax"/>
        </c:scaling>
        <c:delete val="1"/>
        <c:axPos val="b"/>
        <c:numFmt formatCode="General" sourceLinked="1"/>
        <c:majorTickMark val="out"/>
        <c:minorTickMark val="none"/>
        <c:tickLblPos val="nextTo"/>
        <c:crossAx val="517400904"/>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527590394020081"/>
          <c:y val="0.1327347457408905"/>
          <c:w val="0.49956592917442322"/>
          <c:h val="0.83284300565719604"/>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3"/>
            <c:invertIfNegative val="0"/>
            <c:bubble3D val="0"/>
            <c:spPr>
              <a:solidFill>
                <a:schemeClr val="bg1">
                  <a:lumMod val="85000"/>
                </a:schemeClr>
              </a:solidFill>
              <a:ln>
                <a:solidFill>
                  <a:schemeClr val="bg1">
                    <a:lumMod val="50000"/>
                  </a:schemeClr>
                </a:solidFill>
              </a:ln>
            </c:spPr>
          </c:dPt>
          <c:dPt>
            <c:idx val="4"/>
            <c:invertIfNegative val="0"/>
            <c:bubble3D val="0"/>
            <c:spPr>
              <a:solidFill>
                <a:schemeClr val="bg1">
                  <a:lumMod val="85000"/>
                </a:schemeClr>
              </a:solidFill>
              <a:ln>
                <a:solidFill>
                  <a:schemeClr val="bg1">
                    <a:lumMod val="50000"/>
                  </a:schemeClr>
                </a:solidFill>
              </a:ln>
            </c:spPr>
          </c:dPt>
          <c:dPt>
            <c:idx val="5"/>
            <c:invertIfNegative val="0"/>
            <c:bubble3D val="0"/>
            <c:spPr>
              <a:solidFill>
                <a:schemeClr val="bg1">
                  <a:lumMod val="85000"/>
                </a:schemeClr>
              </a:solidFill>
              <a:ln>
                <a:solidFill>
                  <a:schemeClr val="bg1">
                    <a:lumMod val="50000"/>
                  </a:schemeClr>
                </a:solidFill>
              </a:ln>
            </c:spPr>
          </c:dPt>
          <c:dLbls>
            <c:spPr>
              <a:noFill/>
              <a:ln>
                <a:noFill/>
              </a:ln>
              <a:effectLst/>
            </c:spPr>
            <c:txPr>
              <a:bodyPr/>
              <a:lstStyle/>
              <a:p>
                <a:pPr>
                  <a:defRPr sz="1000" smtId="4294967295"/>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Sheet1!$A$2:$A$6</c:f>
            </c:multiLvlStrRef>
          </c:cat>
          <c:val>
            <c:numRef>
              <c:f>Sheet1!$B$2:$B$6</c:f>
              <c:numCache>
                <c:formatCode>General</c:formatCode>
                <c:ptCount val="5"/>
                <c:pt idx="0">
                  <c:v>1</c:v>
                </c:pt>
                <c:pt idx="1">
                  <c:v>2</c:v>
                </c:pt>
                <c:pt idx="2">
                  <c:v>3</c:v>
                </c:pt>
                <c:pt idx="3">
                  <c:v>4</c:v>
                </c:pt>
                <c:pt idx="4">
                  <c:v>5</c:v>
                </c:pt>
              </c:numCache>
            </c:numRef>
          </c:val>
        </c:ser>
        <c:dLbls>
          <c:showLegendKey val="0"/>
          <c:showVal val="0"/>
          <c:showCatName val="0"/>
          <c:showSerName val="0"/>
          <c:showPercent val="0"/>
          <c:showBubbleSize val="0"/>
        </c:dLbls>
        <c:gapWidth val="100"/>
        <c:axId val="671566432"/>
        <c:axId val="671566824"/>
      </c:barChart>
      <c:catAx>
        <c:axId val="671566432"/>
        <c:scaling>
          <c:orientation val="minMax"/>
        </c:scaling>
        <c:delete val="0"/>
        <c:axPos val="l"/>
        <c:numFmt formatCode="General" sourceLinked="1"/>
        <c:majorTickMark val="out"/>
        <c:minorTickMark val="none"/>
        <c:tickLblPos val="nextTo"/>
        <c:txPr>
          <a:bodyPr/>
          <a:lstStyle/>
          <a:p>
            <a:pPr>
              <a:defRPr sz="1000" smtId="4294967295"/>
            </a:pPr>
            <a:endParaRPr lang="ko-KR"/>
          </a:p>
        </c:txPr>
        <c:crossAx val="671566824"/>
        <c:crosses val="autoZero"/>
        <c:auto val="0"/>
        <c:lblAlgn val="ctr"/>
        <c:lblOffset val="100"/>
        <c:noMultiLvlLbl val="0"/>
      </c:catAx>
      <c:valAx>
        <c:axId val="671566824"/>
        <c:scaling>
          <c:orientation val="minMax"/>
        </c:scaling>
        <c:delete val="1"/>
        <c:axPos val="b"/>
        <c:numFmt formatCode="General" sourceLinked="1"/>
        <c:majorTickMark val="out"/>
        <c:minorTickMark val="none"/>
        <c:tickLblPos val="nextTo"/>
        <c:crossAx val="671566432"/>
        <c:crosses val="autoZero"/>
        <c:crossBetween val="between"/>
      </c:valAx>
    </c:plotArea>
    <c:plotVisOnly val="1"/>
    <c:dispBlanksAs val="gap"/>
    <c:showDLblsOverMax val="0"/>
  </c:chart>
  <c:txPr>
    <a:bodyPr/>
    <a:lstStyle/>
    <a:p>
      <a:pPr>
        <a:defRPr sz="1800" smtId="4294967295"/>
      </a:pPr>
      <a:endParaRPr lang="ko-K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2564D7-F5AB-463A-9348-18FC3634B1D7}" type="datetimeFigureOut">
              <a:rPr lang="ko-KR" altLang="en-US" smtClean="0"/>
              <a:t>2019-07-16</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E43F063-8E2E-442C-8F72-2D527778EBC2}" type="slidenum">
              <a:rPr lang="ko-KR" altLang="en-US" smtClean="0"/>
              <a:t>‹#›</a:t>
            </a:fld>
            <a:endParaRPr lang="ko-KR" altLang="en-US"/>
          </a:p>
        </p:txBody>
      </p:sp>
    </p:spTree>
    <p:extLst>
      <p:ext uri="{BB962C8B-B14F-4D97-AF65-F5344CB8AC3E}">
        <p14:creationId xmlns:p14="http://schemas.microsoft.com/office/powerpoint/2010/main" val="62716084"/>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2</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7</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8</a:t>
            </a:fld>
            <a:endParaRPr lang="ko-KR" altLang="en-US">
              <a:solidFill>
                <a:prstClr val="black"/>
              </a:solidFill>
            </a:endParaRPr>
          </a:p>
        </p:txBody>
      </p:sp>
    </p:spTree>
    <p:extLst>
      <p:ext uri="{BB962C8B-B14F-4D97-AF65-F5344CB8AC3E}">
        <p14:creationId xmlns:p14="http://schemas.microsoft.com/office/powerpoint/2010/main" val="501101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9</a:t>
            </a:fld>
            <a:endParaRPr lang="ko-KR" altLang="en-US">
              <a:solidFill>
                <a:prstClr val="black"/>
              </a:solidFill>
            </a:endParaRPr>
          </a:p>
        </p:txBody>
      </p:sp>
    </p:spTree>
    <p:extLst>
      <p:ext uri="{BB962C8B-B14F-4D97-AF65-F5344CB8AC3E}">
        <p14:creationId xmlns:p14="http://schemas.microsoft.com/office/powerpoint/2010/main" val="634070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1</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2</a:t>
            </a:fld>
            <a:endParaRPr lang="ko-KR" altLang="en-US">
              <a:solidFill>
                <a:prstClr val="black"/>
              </a:solidFill>
            </a:endParaRPr>
          </a:p>
        </p:txBody>
      </p:sp>
    </p:spTree>
    <p:extLst>
      <p:ext uri="{BB962C8B-B14F-4D97-AF65-F5344CB8AC3E}">
        <p14:creationId xmlns:p14="http://schemas.microsoft.com/office/powerpoint/2010/main" val="2062589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3</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5</a:t>
            </a:fld>
            <a:endParaRPr lang="ko-KR" altLang="en-US">
              <a:solidFill>
                <a:prstClr val="black"/>
              </a:solidFill>
            </a:endParaRPr>
          </a:p>
        </p:txBody>
      </p:sp>
    </p:spTree>
    <p:extLst>
      <p:ext uri="{BB962C8B-B14F-4D97-AF65-F5344CB8AC3E}">
        <p14:creationId xmlns:p14="http://schemas.microsoft.com/office/powerpoint/2010/main" val="5011011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6</a:t>
            </a:fld>
            <a:endParaRPr lang="ko-KR" altLang="en-US">
              <a:solidFill>
                <a:prstClr val="black"/>
              </a:solidFill>
            </a:endParaRPr>
          </a:p>
        </p:txBody>
      </p:sp>
    </p:spTree>
    <p:extLst>
      <p:ext uri="{BB962C8B-B14F-4D97-AF65-F5344CB8AC3E}">
        <p14:creationId xmlns:p14="http://schemas.microsoft.com/office/powerpoint/2010/main" val="6340705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8</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sz="100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9</a:t>
            </a:fld>
            <a:endParaRPr lang="ko-KR" altLang="en-US">
              <a:solidFill>
                <a:prstClr val="black"/>
              </a:solidFill>
            </a:endParaRPr>
          </a:p>
        </p:txBody>
      </p:sp>
    </p:spTree>
    <p:extLst>
      <p:ext uri="{BB962C8B-B14F-4D97-AF65-F5344CB8AC3E}">
        <p14:creationId xmlns:p14="http://schemas.microsoft.com/office/powerpoint/2010/main" val="2663916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0</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1</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6</a:t>
            </a:fld>
            <a:endParaRPr lang="ko-KR" altLang="en-US">
              <a:solidFill>
                <a:prstClr val="black"/>
              </a:solidFill>
            </a:endParaRPr>
          </a:p>
        </p:txBody>
      </p:sp>
    </p:spTree>
    <p:extLst>
      <p:ext uri="{BB962C8B-B14F-4D97-AF65-F5344CB8AC3E}">
        <p14:creationId xmlns:p14="http://schemas.microsoft.com/office/powerpoint/2010/main" val="364157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7</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8</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9</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0</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1</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tags" Target="../tags/tag15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image" Target="../media/image3.png"/></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tags" Target="../tags/tag183.xml"/><Relationship Id="rId4" Type="http://schemas.openxmlformats.org/officeDocument/2006/relationships/image" Target="../media/image3.png"/></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tags" Target="../tags/tag189.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2.xml"/><Relationship Id="rId1" Type="http://schemas.openxmlformats.org/officeDocument/2006/relationships/tags" Target="../tags/tag191.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tags" Target="../tags/tag19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4" Type="http://schemas.openxmlformats.org/officeDocument/2006/relationships/image" Target="../media/image3.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tags" Target="../tags/tag19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tags" Target="../tags/tag19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image" Target="../media/image3.pn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tags" Target="../tags/tag215.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tags" Target="../tags/tag21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4"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tags" Target="../tags/tag221.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4.xml"/><Relationship Id="rId1" Type="http://schemas.openxmlformats.org/officeDocument/2006/relationships/tags" Target="../tags/tag22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tags" Target="../tags/tag22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tags" Target="../tags/tag22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2.xml"/><Relationship Id="rId1" Type="http://schemas.openxmlformats.org/officeDocument/2006/relationships/tags" Target="../tags/tag231.xml"/><Relationship Id="rId4" Type="http://schemas.openxmlformats.org/officeDocument/2006/relationships/image" Target="../media/image3.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4.xml"/><Relationship Id="rId1" Type="http://schemas.openxmlformats.org/officeDocument/2006/relationships/tags" Target="../tags/tag233.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6.xml"/><Relationship Id="rId1" Type="http://schemas.openxmlformats.org/officeDocument/2006/relationships/tags" Target="../tags/tag23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8.xml"/><Relationship Id="rId1" Type="http://schemas.openxmlformats.org/officeDocument/2006/relationships/tags" Target="../tags/tag237.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0.xml"/><Relationship Id="rId1" Type="http://schemas.openxmlformats.org/officeDocument/2006/relationships/tags" Target="../tags/tag23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2.xml"/><Relationship Id="rId1" Type="http://schemas.openxmlformats.org/officeDocument/2006/relationships/tags" Target="../tags/tag241.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4.xml"/><Relationship Id="rId1" Type="http://schemas.openxmlformats.org/officeDocument/2006/relationships/tags" Target="../tags/tag243.xml"/><Relationship Id="rId4" Type="http://schemas.openxmlformats.org/officeDocument/2006/relationships/image" Target="../media/image3.png"/></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tags" Target="../tags/tag245.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8.xml"/><Relationship Id="rId1" Type="http://schemas.openxmlformats.org/officeDocument/2006/relationships/tags" Target="../tags/tag24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0.xml"/><Relationship Id="rId1" Type="http://schemas.openxmlformats.org/officeDocument/2006/relationships/tags" Target="../tags/tag249.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2.xml"/><Relationship Id="rId1" Type="http://schemas.openxmlformats.org/officeDocument/2006/relationships/tags" Target="../tags/tag251.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4.xml"/><Relationship Id="rId1" Type="http://schemas.openxmlformats.org/officeDocument/2006/relationships/tags" Target="../tags/tag253.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6.xml"/><Relationship Id="rId1" Type="http://schemas.openxmlformats.org/officeDocument/2006/relationships/tags" Target="../tags/tag255.xml"/><Relationship Id="rId4" Type="http://schemas.openxmlformats.org/officeDocument/2006/relationships/image" Target="../media/image3.pn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8.xml"/><Relationship Id="rId1" Type="http://schemas.openxmlformats.org/officeDocument/2006/relationships/tags" Target="../tags/tag257.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0.xml"/><Relationship Id="rId1" Type="http://schemas.openxmlformats.org/officeDocument/2006/relationships/tags" Target="../tags/tag25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2.xml"/><Relationship Id="rId1" Type="http://schemas.openxmlformats.org/officeDocument/2006/relationships/tags" Target="../tags/tag261.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4.xml"/><Relationship Id="rId1" Type="http://schemas.openxmlformats.org/officeDocument/2006/relationships/tags" Target="../tags/tag263.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6.xml"/><Relationship Id="rId1" Type="http://schemas.openxmlformats.org/officeDocument/2006/relationships/tags" Target="../tags/tag265.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4" Type="http://schemas.openxmlformats.org/officeDocument/2006/relationships/image" Target="../media/image3.pn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0.xml"/><Relationship Id="rId1" Type="http://schemas.openxmlformats.org/officeDocument/2006/relationships/tags" Target="../tags/tag269.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2.xml"/><Relationship Id="rId1" Type="http://schemas.openxmlformats.org/officeDocument/2006/relationships/tags" Target="../tags/tag27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5.xml"/><Relationship Id="rId1" Type="http://schemas.openxmlformats.org/officeDocument/2006/relationships/tags" Target="../tags/tag27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7.xml"/><Relationship Id="rId1" Type="http://schemas.openxmlformats.org/officeDocument/2006/relationships/tags" Target="../tags/tag276.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9.xml"/><Relationship Id="rId1" Type="http://schemas.openxmlformats.org/officeDocument/2006/relationships/tags" Target="../tags/tag278.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image" Target="../media/image3.png"/></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slideMaster" Target="../slideMasters/slideMaster3.xml"/><Relationship Id="rId5" Type="http://schemas.openxmlformats.org/officeDocument/2006/relationships/tags" Target="../tags/tag286.xml"/><Relationship Id="rId4" Type="http://schemas.openxmlformats.org/officeDocument/2006/relationships/tags" Target="../tags/tag285.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tags" Target="../tags/tag287.xml"/><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1.xml"/><Relationship Id="rId1" Type="http://schemas.openxmlformats.org/officeDocument/2006/relationships/tags" Target="../tags/tag29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3.xml"/><Relationship Id="rId1" Type="http://schemas.openxmlformats.org/officeDocument/2006/relationships/tags" Target="../tags/tag292.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5.xml"/><Relationship Id="rId1" Type="http://schemas.openxmlformats.org/officeDocument/2006/relationships/tags" Target="../tags/tag29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7.xml"/><Relationship Id="rId1" Type="http://schemas.openxmlformats.org/officeDocument/2006/relationships/tags" Target="../tags/tag29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9.xml"/><Relationship Id="rId1" Type="http://schemas.openxmlformats.org/officeDocument/2006/relationships/tags" Target="../tags/tag298.xml"/><Relationship Id="rId4" Type="http://schemas.openxmlformats.org/officeDocument/2006/relationships/image" Target="../media/image3.png"/></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1.xml"/><Relationship Id="rId1" Type="http://schemas.openxmlformats.org/officeDocument/2006/relationships/tags" Target="../tags/tag300.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3.xml"/><Relationship Id="rId1" Type="http://schemas.openxmlformats.org/officeDocument/2006/relationships/tags" Target="../tags/tag30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5.xml"/><Relationship Id="rId1" Type="http://schemas.openxmlformats.org/officeDocument/2006/relationships/tags" Target="../tags/tag304.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7.xml"/><Relationship Id="rId1" Type="http://schemas.openxmlformats.org/officeDocument/2006/relationships/tags" Target="../tags/tag30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9.xml"/><Relationship Id="rId1" Type="http://schemas.openxmlformats.org/officeDocument/2006/relationships/tags" Target="../tags/tag308.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3.xml"/><Relationship Id="rId1" Type="http://schemas.openxmlformats.org/officeDocument/2006/relationships/tags" Target="../tags/tag312.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5.xml"/><Relationship Id="rId1" Type="http://schemas.openxmlformats.org/officeDocument/2006/relationships/tags" Target="../tags/tag3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7.xml"/><Relationship Id="rId1" Type="http://schemas.openxmlformats.org/officeDocument/2006/relationships/tags" Target="../tags/tag316.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9.xml"/><Relationship Id="rId1" Type="http://schemas.openxmlformats.org/officeDocument/2006/relationships/tags" Target="../tags/tag318.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3.xml"/><Relationship Id="rId1" Type="http://schemas.openxmlformats.org/officeDocument/2006/relationships/tags" Target="../tags/tag322.xml"/><Relationship Id="rId4" Type="http://schemas.openxmlformats.org/officeDocument/2006/relationships/image" Target="../media/image3.png"/></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5.xml"/><Relationship Id="rId1" Type="http://schemas.openxmlformats.org/officeDocument/2006/relationships/tags" Target="../tags/tag324.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7.xml"/><Relationship Id="rId1" Type="http://schemas.openxmlformats.org/officeDocument/2006/relationships/tags" Target="../tags/tag32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9.xml"/><Relationship Id="rId1" Type="http://schemas.openxmlformats.org/officeDocument/2006/relationships/tags" Target="../tags/tag328.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1.xml"/><Relationship Id="rId1" Type="http://schemas.openxmlformats.org/officeDocument/2006/relationships/tags" Target="../tags/tag33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3.xml"/><Relationship Id="rId1" Type="http://schemas.openxmlformats.org/officeDocument/2006/relationships/tags" Target="../tags/tag33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5.xml"/><Relationship Id="rId1" Type="http://schemas.openxmlformats.org/officeDocument/2006/relationships/tags" Target="../tags/tag334.xml"/><Relationship Id="rId4" Type="http://schemas.openxmlformats.org/officeDocument/2006/relationships/image" Target="../media/image3.png"/></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7.xml"/><Relationship Id="rId1" Type="http://schemas.openxmlformats.org/officeDocument/2006/relationships/tags" Target="../tags/tag33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9.xml"/><Relationship Id="rId1" Type="http://schemas.openxmlformats.org/officeDocument/2006/relationships/tags" Target="../tags/tag33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1.xml"/><Relationship Id="rId1" Type="http://schemas.openxmlformats.org/officeDocument/2006/relationships/tags" Target="../tags/tag340.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3.xml"/><Relationship Id="rId1" Type="http://schemas.openxmlformats.org/officeDocument/2006/relationships/tags" Target="../tags/tag342.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5.xml"/><Relationship Id="rId1" Type="http://schemas.openxmlformats.org/officeDocument/2006/relationships/tags" Target="../tags/tag34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image" Target="../media/image3.pn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9.xml"/><Relationship Id="rId1" Type="http://schemas.openxmlformats.org/officeDocument/2006/relationships/tags" Target="../tags/tag348.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1.xml"/><Relationship Id="rId1" Type="http://schemas.openxmlformats.org/officeDocument/2006/relationships/tags" Target="../tags/tag35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3.xml"/><Relationship Id="rId1" Type="http://schemas.openxmlformats.org/officeDocument/2006/relationships/tags" Target="../tags/tag352.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5.xml"/><Relationship Id="rId1" Type="http://schemas.openxmlformats.org/officeDocument/2006/relationships/tags" Target="../tags/tag354.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7.xml"/><Relationship Id="rId1" Type="http://schemas.openxmlformats.org/officeDocument/2006/relationships/tags" Target="../tags/tag356.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9.xml"/><Relationship Id="rId1" Type="http://schemas.openxmlformats.org/officeDocument/2006/relationships/tags" Target="../tags/tag358.xml"/><Relationship Id="rId4"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1.xml"/><Relationship Id="rId1" Type="http://schemas.openxmlformats.org/officeDocument/2006/relationships/tags" Target="../tags/tag360.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3.xml"/><Relationship Id="rId1" Type="http://schemas.openxmlformats.org/officeDocument/2006/relationships/tags" Target="../tags/tag36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5.xml"/><Relationship Id="rId1" Type="http://schemas.openxmlformats.org/officeDocument/2006/relationships/tags" Target="../tags/tag364.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7.xml"/><Relationship Id="rId1" Type="http://schemas.openxmlformats.org/officeDocument/2006/relationships/tags" Target="../tags/tag366.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9.xml"/><Relationship Id="rId1" Type="http://schemas.openxmlformats.org/officeDocument/2006/relationships/tags" Target="../tags/tag36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1.xml"/><Relationship Id="rId1" Type="http://schemas.openxmlformats.org/officeDocument/2006/relationships/tags" Target="../tags/tag370.xml"/><Relationship Id="rId4" Type="http://schemas.openxmlformats.org/officeDocument/2006/relationships/image" Target="../media/image3.pn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3.xml"/><Relationship Id="rId1" Type="http://schemas.openxmlformats.org/officeDocument/2006/relationships/tags" Target="../tags/tag372.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5.xml"/><Relationship Id="rId1" Type="http://schemas.openxmlformats.org/officeDocument/2006/relationships/tags" Target="../tags/tag37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7.xml"/><Relationship Id="rId1" Type="http://schemas.openxmlformats.org/officeDocument/2006/relationships/tags" Target="../tags/tag376.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9.xml"/><Relationship Id="rId1" Type="http://schemas.openxmlformats.org/officeDocument/2006/relationships/tags" Target="../tags/tag37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1.xml"/><Relationship Id="rId1" Type="http://schemas.openxmlformats.org/officeDocument/2006/relationships/tags" Target="../tags/tag380.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3.xml"/><Relationship Id="rId1" Type="http://schemas.openxmlformats.org/officeDocument/2006/relationships/tags" Target="../tags/tag382.xml"/><Relationship Id="rId4" Type="http://schemas.openxmlformats.org/officeDocument/2006/relationships/image" Target="../media/image3.png"/></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5.xml"/><Relationship Id="rId1" Type="http://schemas.openxmlformats.org/officeDocument/2006/relationships/tags" Target="../tags/tag384.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7.xml"/><Relationship Id="rId1" Type="http://schemas.openxmlformats.org/officeDocument/2006/relationships/tags" Target="../tags/tag38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9.xml"/><Relationship Id="rId1" Type="http://schemas.openxmlformats.org/officeDocument/2006/relationships/tags" Target="../tags/tag388.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1.xml"/><Relationship Id="rId1" Type="http://schemas.openxmlformats.org/officeDocument/2006/relationships/tags" Target="../tags/tag39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3.xml"/><Relationship Id="rId1" Type="http://schemas.openxmlformats.org/officeDocument/2006/relationships/tags" Target="../tags/tag39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5.xml"/><Relationship Id="rId1" Type="http://schemas.openxmlformats.org/officeDocument/2006/relationships/tags" Target="../tags/tag394.xml"/><Relationship Id="rId4" Type="http://schemas.openxmlformats.org/officeDocument/2006/relationships/image" Target="../media/image3.png"/></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7.xml"/><Relationship Id="rId1" Type="http://schemas.openxmlformats.org/officeDocument/2006/relationships/tags" Target="../tags/tag39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3.pn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9.xml"/><Relationship Id="rId1" Type="http://schemas.openxmlformats.org/officeDocument/2006/relationships/tags" Target="../tags/tag39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1.xml"/><Relationship Id="rId1" Type="http://schemas.openxmlformats.org/officeDocument/2006/relationships/tags" Target="../tags/tag400.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3.xml"/><Relationship Id="rId1" Type="http://schemas.openxmlformats.org/officeDocument/2006/relationships/tags" Target="../tags/tag402.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5.xml"/><Relationship Id="rId1" Type="http://schemas.openxmlformats.org/officeDocument/2006/relationships/tags" Target="../tags/tag404.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7.xml"/><Relationship Id="rId1" Type="http://schemas.openxmlformats.org/officeDocument/2006/relationships/tags" Target="../tags/tag406.xml"/><Relationship Id="rId4" Type="http://schemas.openxmlformats.org/officeDocument/2006/relationships/image" Target="../media/image3.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9.xml"/><Relationship Id="rId1" Type="http://schemas.openxmlformats.org/officeDocument/2006/relationships/tags" Target="../tags/tag408.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1.xml"/><Relationship Id="rId1" Type="http://schemas.openxmlformats.org/officeDocument/2006/relationships/tags" Target="../tags/tag4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3.xml"/><Relationship Id="rId1" Type="http://schemas.openxmlformats.org/officeDocument/2006/relationships/tags" Target="../tags/tag41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5.xml"/><Relationship Id="rId1" Type="http://schemas.openxmlformats.org/officeDocument/2006/relationships/tags" Target="../tags/tag414.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7.xml"/><Relationship Id="rId1" Type="http://schemas.openxmlformats.org/officeDocument/2006/relationships/tags" Target="../tags/tag416.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9.xml"/><Relationship Id="rId1" Type="http://schemas.openxmlformats.org/officeDocument/2006/relationships/tags" Target="../tags/tag418.xml"/><Relationship Id="rId4" Type="http://schemas.openxmlformats.org/officeDocument/2006/relationships/image" Target="../media/image3.png"/></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1.xml"/><Relationship Id="rId1" Type="http://schemas.openxmlformats.org/officeDocument/2006/relationships/tags" Target="../tags/tag420.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3.xml"/><Relationship Id="rId1" Type="http://schemas.openxmlformats.org/officeDocument/2006/relationships/tags" Target="../tags/tag42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5.xml"/><Relationship Id="rId1" Type="http://schemas.openxmlformats.org/officeDocument/2006/relationships/tags" Target="../tags/tag424.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7.xml"/><Relationship Id="rId1" Type="http://schemas.openxmlformats.org/officeDocument/2006/relationships/tags" Target="../tags/tag426.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9.xml"/><Relationship Id="rId1" Type="http://schemas.openxmlformats.org/officeDocument/2006/relationships/tags" Target="../tags/tag428.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1.xml"/><Relationship Id="rId1" Type="http://schemas.openxmlformats.org/officeDocument/2006/relationships/tags" Target="../tags/tag430.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3.xml"/><Relationship Id="rId1" Type="http://schemas.openxmlformats.org/officeDocument/2006/relationships/tags" Target="../tags/tag432.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5.xml"/><Relationship Id="rId1" Type="http://schemas.openxmlformats.org/officeDocument/2006/relationships/tags" Target="../tags/tag43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7.xml"/><Relationship Id="rId1" Type="http://schemas.openxmlformats.org/officeDocument/2006/relationships/tags" Target="../tags/tag436.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9.xml"/><Relationship Id="rId1" Type="http://schemas.openxmlformats.org/officeDocument/2006/relationships/tags" Target="../tags/tag438.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1.xml"/><Relationship Id="rId1" Type="http://schemas.openxmlformats.org/officeDocument/2006/relationships/tags" Target="../tags/tag440.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3.xml"/><Relationship Id="rId1" Type="http://schemas.openxmlformats.org/officeDocument/2006/relationships/tags" Target="../tags/tag442.xml"/><Relationship Id="rId4" Type="http://schemas.openxmlformats.org/officeDocument/2006/relationships/image" Target="../media/image3.png"/></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5.xml"/><Relationship Id="rId1" Type="http://schemas.openxmlformats.org/officeDocument/2006/relationships/tags" Target="../tags/tag44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7.xml"/><Relationship Id="rId1" Type="http://schemas.openxmlformats.org/officeDocument/2006/relationships/tags" Target="../tags/tag44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9.xml"/><Relationship Id="rId1" Type="http://schemas.openxmlformats.org/officeDocument/2006/relationships/tags" Target="../tags/tag448.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1.xml"/><Relationship Id="rId1" Type="http://schemas.openxmlformats.org/officeDocument/2006/relationships/tags" Target="../tags/tag450.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3.xml"/><Relationship Id="rId1" Type="http://schemas.openxmlformats.org/officeDocument/2006/relationships/tags" Target="../tags/tag452.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5.xml"/><Relationship Id="rId1" Type="http://schemas.openxmlformats.org/officeDocument/2006/relationships/tags" Target="../tags/tag454.xml"/><Relationship Id="rId4" Type="http://schemas.openxmlformats.org/officeDocument/2006/relationships/image" Target="../media/image3.png"/></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7.xml"/><Relationship Id="rId1" Type="http://schemas.openxmlformats.org/officeDocument/2006/relationships/tags" Target="../tags/tag456.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9.xml"/><Relationship Id="rId1" Type="http://schemas.openxmlformats.org/officeDocument/2006/relationships/tags" Target="../tags/tag45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1.xml"/><Relationship Id="rId1" Type="http://schemas.openxmlformats.org/officeDocument/2006/relationships/tags" Target="../tags/tag460.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3.xml"/><Relationship Id="rId1" Type="http://schemas.openxmlformats.org/officeDocument/2006/relationships/tags" Target="../tags/tag462.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5.xml"/><Relationship Id="rId1" Type="http://schemas.openxmlformats.org/officeDocument/2006/relationships/tags" Target="../tags/tag46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7.xml"/><Relationship Id="rId1" Type="http://schemas.openxmlformats.org/officeDocument/2006/relationships/tags" Target="../tags/tag466.xml"/><Relationship Id="rId4" Type="http://schemas.openxmlformats.org/officeDocument/2006/relationships/image" Target="../media/image3.pn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9.xml"/><Relationship Id="rId1" Type="http://schemas.openxmlformats.org/officeDocument/2006/relationships/tags" Target="../tags/tag468.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1.xml"/><Relationship Id="rId1" Type="http://schemas.openxmlformats.org/officeDocument/2006/relationships/tags" Target="../tags/tag47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3.xml"/><Relationship Id="rId1" Type="http://schemas.openxmlformats.org/officeDocument/2006/relationships/tags" Target="../tags/tag472.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5.xml"/><Relationship Id="rId1" Type="http://schemas.openxmlformats.org/officeDocument/2006/relationships/tags" Target="../tags/tag474.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7.xml"/><Relationship Id="rId1" Type="http://schemas.openxmlformats.org/officeDocument/2006/relationships/tags" Target="../tags/tag476.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9.xml"/><Relationship Id="rId1" Type="http://schemas.openxmlformats.org/officeDocument/2006/relationships/tags" Target="../tags/tag478.xml"/><Relationship Id="rId4" Type="http://schemas.openxmlformats.org/officeDocument/2006/relationships/image" Target="../media/image3.png"/></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1.xml"/><Relationship Id="rId1" Type="http://schemas.openxmlformats.org/officeDocument/2006/relationships/tags" Target="../tags/tag480.xml"/></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3.xml"/><Relationship Id="rId1" Type="http://schemas.openxmlformats.org/officeDocument/2006/relationships/tags" Target="../tags/tag48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5.xml"/><Relationship Id="rId1" Type="http://schemas.openxmlformats.org/officeDocument/2006/relationships/tags" Target="../tags/tag484.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7.xml"/><Relationship Id="rId1" Type="http://schemas.openxmlformats.org/officeDocument/2006/relationships/tags" Target="../tags/tag486.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9.xml"/><Relationship Id="rId1" Type="http://schemas.openxmlformats.org/officeDocument/2006/relationships/tags" Target="../tags/tag488.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1.xml"/><Relationship Id="rId1" Type="http://schemas.openxmlformats.org/officeDocument/2006/relationships/tags" Target="../tags/tag490.xml"/><Relationship Id="rId4" Type="http://schemas.openxmlformats.org/officeDocument/2006/relationships/image" Target="../media/image3.png"/></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3.xml"/><Relationship Id="rId1" Type="http://schemas.openxmlformats.org/officeDocument/2006/relationships/tags" Target="../tags/tag492.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5.xml"/><Relationship Id="rId1" Type="http://schemas.openxmlformats.org/officeDocument/2006/relationships/tags" Target="../tags/tag49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7.xml"/><Relationship Id="rId1" Type="http://schemas.openxmlformats.org/officeDocument/2006/relationships/tags" Target="../tags/tag496.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9.xml"/><Relationship Id="rId1" Type="http://schemas.openxmlformats.org/officeDocument/2006/relationships/tags" Target="../tags/tag49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1.xml"/><Relationship Id="rId1" Type="http://schemas.openxmlformats.org/officeDocument/2006/relationships/tags" Target="../tags/tag500.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3.xml"/><Relationship Id="rId1" Type="http://schemas.openxmlformats.org/officeDocument/2006/relationships/tags" Target="../tags/tag502.xml"/><Relationship Id="rId4" Type="http://schemas.openxmlformats.org/officeDocument/2006/relationships/image" Target="../media/image3.png"/></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5.xml"/><Relationship Id="rId1" Type="http://schemas.openxmlformats.org/officeDocument/2006/relationships/tags" Target="../tags/tag50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7.xml"/><Relationship Id="rId1" Type="http://schemas.openxmlformats.org/officeDocument/2006/relationships/tags" Target="../tags/tag50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9.xml"/><Relationship Id="rId1" Type="http://schemas.openxmlformats.org/officeDocument/2006/relationships/tags" Target="../tags/tag508.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1.xml"/><Relationship Id="rId1" Type="http://schemas.openxmlformats.org/officeDocument/2006/relationships/tags" Target="../tags/tag510.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3.xml"/><Relationship Id="rId1" Type="http://schemas.openxmlformats.org/officeDocument/2006/relationships/tags" Target="../tags/tag512.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5.xml"/><Relationship Id="rId1" Type="http://schemas.openxmlformats.org/officeDocument/2006/relationships/tags" Target="../tags/tag514.xml"/><Relationship Id="rId4" Type="http://schemas.openxmlformats.org/officeDocument/2006/relationships/image" Target="../media/image3.png"/></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7.xml"/><Relationship Id="rId1" Type="http://schemas.openxmlformats.org/officeDocument/2006/relationships/tags" Target="../tags/tag51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9.xml"/><Relationship Id="rId1" Type="http://schemas.openxmlformats.org/officeDocument/2006/relationships/tags" Target="../tags/tag5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1.xml"/><Relationship Id="rId1" Type="http://schemas.openxmlformats.org/officeDocument/2006/relationships/tags" Target="../tags/tag520.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3.xml"/><Relationship Id="rId1" Type="http://schemas.openxmlformats.org/officeDocument/2006/relationships/tags" Target="../tags/tag522.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5.xml"/><Relationship Id="rId1" Type="http://schemas.openxmlformats.org/officeDocument/2006/relationships/tags" Target="../tags/tag524.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7.xml"/><Relationship Id="rId1" Type="http://schemas.openxmlformats.org/officeDocument/2006/relationships/tags" Target="../tags/tag526.xml"/><Relationship Id="rId4" Type="http://schemas.openxmlformats.org/officeDocument/2006/relationships/image" Target="../media/image3.png"/></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9.xml"/><Relationship Id="rId1" Type="http://schemas.openxmlformats.org/officeDocument/2006/relationships/tags" Target="../tags/tag528.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1.xml"/><Relationship Id="rId1" Type="http://schemas.openxmlformats.org/officeDocument/2006/relationships/tags" Target="../tags/tag53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3.xml"/><Relationship Id="rId1" Type="http://schemas.openxmlformats.org/officeDocument/2006/relationships/tags" Target="../tags/tag53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3.pn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5.xml"/><Relationship Id="rId1" Type="http://schemas.openxmlformats.org/officeDocument/2006/relationships/tags" Target="../tags/tag534.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7.xml"/><Relationship Id="rId1" Type="http://schemas.openxmlformats.org/officeDocument/2006/relationships/tags" Target="../tags/tag536.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9.xml"/><Relationship Id="rId1" Type="http://schemas.openxmlformats.org/officeDocument/2006/relationships/tags" Target="../tags/tag538.xml"/><Relationship Id="rId4" Type="http://schemas.openxmlformats.org/officeDocument/2006/relationships/image" Target="../media/image3.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1.xml"/><Relationship Id="rId1" Type="http://schemas.openxmlformats.org/officeDocument/2006/relationships/tags" Target="../tags/tag540.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3.xml"/><Relationship Id="rId1" Type="http://schemas.openxmlformats.org/officeDocument/2006/relationships/tags" Target="../tags/tag54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54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tags" Target="../tags/tag9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ags" Target="../tags/tag10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tags" Target="../tags/tag109.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tags" Target="../tags/tag11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tags" Target="../tags/tag11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2.xml"/><Relationship Id="rId1" Type="http://schemas.openxmlformats.org/officeDocument/2006/relationships/tags" Target="../tags/tag12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tags" Target="../tags/tag12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tags" Target="../tags/tag12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tags" Target="../tags/tag13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tags" Target="../tags/tag14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tags" Target="../tags/tag149.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tags" Target="../tags/tag15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tags" Target="../tags/tag15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45603826"/>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2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316137053"/>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224572"/>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000869509"/>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00437738"/>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2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53696829"/>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76172775"/>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17134870"/>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742659720"/>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3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646149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740035463"/>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33755017"/>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3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641540055"/>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77702720"/>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24507085"/>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4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9906271"/>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4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1310199"/>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923628938"/>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8064549"/>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4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8848063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07983196"/>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28908954"/>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17835130"/>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6021383"/>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5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774115"/>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16656836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73727780"/>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5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69002390"/>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2664218"/>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92367349"/>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9992656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225757049"/>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6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997876"/>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7524964"/>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90864619"/>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6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409335275"/>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05716458"/>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48746477"/>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082116325"/>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7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334566"/>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27630451"/>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1781517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867425461"/>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7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88894909"/>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87412095"/>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002438093"/>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952378371"/>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8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6027797"/>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423820649"/>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23033415"/>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8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101915166"/>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14230439"/>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601612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411670"/>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403870343"/>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9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3912758"/>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387470758"/>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06341830"/>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9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699417560"/>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73909009"/>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77700247"/>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935516982"/>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0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378395"/>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6520112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033500983"/>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39471435"/>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0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475900157"/>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57651070"/>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92759692"/>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417140335"/>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8647319"/>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63193844"/>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73616638"/>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1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898009816"/>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539746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58591767"/>
      </p:ext>
    </p:extLst>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27048651"/>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46579159"/>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637779"/>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116085883"/>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274758050"/>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98554034"/>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800708"/>
            <a:ext cx="8443881"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759549103"/>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18464833"/>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14207802"/>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7403676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28100014"/>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21467876"/>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7"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782920"/>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07763312"/>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94504269"/>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마스터 _ 타이틀">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60" baseline="0">
                <a:ln>
                  <a:noFill/>
                </a:ln>
                <a:solidFill>
                  <a:schemeClr val="accent1"/>
                </a:solidFill>
                <a:latin typeface="+mn-ea"/>
                <a:ea typeface="+mn-ea"/>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mn-ea"/>
                <a:ea typeface="+mn-ea"/>
              </a:defRPr>
            </a:lvl1pPr>
          </a:lstStyle>
          <a:p>
            <a:pPr lvl="0"/>
            <a:r>
              <a:rPr lang="en-US" altLang="ko-KR" smtClean="0"/>
              <a:t> </a:t>
            </a:r>
            <a:endParaRPr lang="ko-KR" altLang="en-US"/>
          </a:p>
        </p:txBody>
      </p:sp>
    </p:spTree>
    <p:extLst>
      <p:ext uri="{BB962C8B-B14F-4D97-AF65-F5344CB8AC3E}">
        <p14:creationId xmlns:p14="http://schemas.microsoft.com/office/powerpoint/2010/main" val="3570400140"/>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템플릿">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156812"/>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59277600"/>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59153239"/>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21971630"/>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2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992446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제목 슬라이드">
    <p:spTree>
      <p:nvGrpSpPr>
        <p:cNvPr id="1" name=""/>
        <p:cNvGrpSpPr/>
        <p:nvPr/>
      </p:nvGrpSpPr>
      <p:grpSpPr>
        <a:xfrm>
          <a:off x="0" y="0"/>
          <a:ext cx="0" cy="0"/>
          <a:chOff x="0" y="0"/>
          <a:ch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800708"/>
            <a:ext cx="8443881"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986604464"/>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071505029"/>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65850551"/>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464351043"/>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84480118"/>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32380650"/>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72172901"/>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3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1559166"/>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000671357"/>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65437540"/>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3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29741173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97243748"/>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83413386"/>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875817350"/>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15152657"/>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4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7332640"/>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22468958"/>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22240591"/>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4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588611368"/>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94228136"/>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20239967"/>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20636605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69366920"/>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5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4508372"/>
      </p:ext>
    </p:extLst>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159699243"/>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18759013"/>
      </p:ext>
    </p:extLst>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5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78584510"/>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65701364"/>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78968351"/>
      </p:ext>
    </p:extLst>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29668613"/>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6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0628"/>
      </p:ext>
    </p:extLst>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559226291"/>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1700725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709065300"/>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6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066849733"/>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275186900"/>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19140522"/>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53215423"/>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7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1341437"/>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49669286"/>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52877677"/>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7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24125551"/>
      </p:ext>
    </p:extLst>
  </p:cSld>
  <p:clrMapOvr>
    <a:masterClrMapping/>
  </p:clrMapOv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57444671"/>
      </p:ext>
    </p:extLst>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5686541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050497648"/>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85870862"/>
      </p:ext>
    </p:extLst>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8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03129"/>
      </p:ext>
    </p:extLst>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77915601"/>
      </p:ext>
    </p:extLst>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75811566"/>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8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791347700"/>
      </p:ext>
    </p:extLst>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98216759"/>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608752829"/>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560593587"/>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9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6636652"/>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0431871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7"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296675"/>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3877406"/>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9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287793338"/>
      </p:ext>
    </p:extLst>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7691051"/>
      </p:ext>
    </p:extLst>
  </p:cSld>
  <p:clrMapOvr>
    <a:masterClrMapping/>
  </p:clrMapOv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29770939"/>
      </p:ext>
    </p:extLst>
  </p:cSld>
  <p:clrMapOvr>
    <a:masterClrMapping/>
  </p:clrMapOv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172559147"/>
      </p:ext>
    </p:extLst>
  </p:cSld>
  <p:clrMapOvr>
    <a:masterClrMapping/>
  </p:clrMapOv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0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9255293"/>
      </p:ext>
    </p:extLst>
  </p:cSld>
  <p:clrMapOvr>
    <a:masterClrMapping/>
  </p:clrMapOv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41338520"/>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16566407"/>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0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808524765"/>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5874382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731246004"/>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530993003"/>
      </p:ext>
    </p:extLst>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01511045"/>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507212"/>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810291294"/>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94728351"/>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1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37287033"/>
      </p:ext>
    </p:extLst>
  </p:cSld>
  <p:clrMapOvr>
    <a:masterClrMapping/>
  </p:clrMapOv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6214816"/>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26872404"/>
      </p:ext>
    </p:extLst>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2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68977705"/>
      </p:ext>
    </p:extLst>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12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44125"/>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95319847"/>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151734475"/>
      </p:ext>
    </p:extLst>
  </p:cSld>
  <p:clrMapOvr>
    <a:masterClrMapping/>
  </p:clrMapOv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98229279"/>
      </p:ext>
    </p:extLst>
  </p:cSld>
  <p:clrMapOvr>
    <a:masterClrMapping/>
  </p:clrMapOv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86689229"/>
      </p:ext>
    </p:extLst>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27857666"/>
      </p:ext>
    </p:extLst>
  </p:cSld>
  <p:clrMapOvr>
    <a:masterClrMapping/>
  </p:clrMapOv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1162097"/>
      </p:ext>
    </p:extLst>
  </p:cSld>
  <p:clrMapOvr>
    <a:masterClrMapping/>
  </p:clrMapOv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20742816"/>
      </p:ext>
    </p:extLst>
  </p:cSld>
  <p:clrMapOvr>
    <a:masterClrMapping/>
  </p:clrMapOv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3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351985"/>
      </p:ext>
    </p:extLst>
  </p:cSld>
  <p:clrMapOvr>
    <a:masterClrMapping/>
  </p:clrMapOv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37956857"/>
      </p:ext>
    </p:extLst>
  </p:cSld>
  <p:clrMapOvr>
    <a:masterClrMapping/>
  </p:clrMapOv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53300837"/>
      </p:ext>
    </p:extLst>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3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6004870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마스터 _ 타이틀">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60" baseline="0">
                <a:ln>
                  <a:noFill/>
                </a:ln>
                <a:solidFill>
                  <a:schemeClr val="accent1"/>
                </a:solidFill>
                <a:latin typeface="+mn-ea"/>
                <a:ea typeface="+mn-ea"/>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mn-ea"/>
                <a:ea typeface="+mn-ea"/>
              </a:defRPr>
            </a:lvl1pPr>
          </a:lstStyle>
          <a:p>
            <a:pPr lvl="0"/>
            <a:r>
              <a:rPr lang="en-US" altLang="ko-KR" smtClean="0"/>
              <a:t> </a:t>
            </a:r>
            <a:endParaRPr lang="ko-KR" altLang="en-US"/>
          </a:p>
        </p:txBody>
      </p:sp>
    </p:spTree>
    <p:extLst>
      <p:ext uri="{BB962C8B-B14F-4D97-AF65-F5344CB8AC3E}">
        <p14:creationId xmlns:p14="http://schemas.microsoft.com/office/powerpoint/2010/main" val="2294887958"/>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89346342"/>
      </p:ext>
    </p:extLst>
  </p:cSld>
  <p:clrMapOvr>
    <a:masterClrMapping/>
  </p:clrMapOv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886892476"/>
      </p:ext>
    </p:extLst>
  </p:cSld>
  <p:clrMapOvr>
    <a:masterClrMapping/>
  </p:clrMapOv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4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53735224"/>
      </p:ext>
    </p:extLst>
  </p:cSld>
  <p:clrMapOvr>
    <a:masterClrMapping/>
  </p:clrMapOv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4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508943"/>
      </p:ext>
    </p:extLst>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791887190"/>
      </p:ext>
    </p:extLst>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27085602"/>
      </p:ext>
    </p:extLst>
  </p:cSld>
  <p:clrMapOvr>
    <a:masterClrMapping/>
  </p:clrMapOvr>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4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14807683"/>
      </p:ext>
    </p:extLst>
  </p:cSld>
  <p:clrMapOvr>
    <a:masterClrMapping/>
  </p:clrMapOv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43423033"/>
      </p:ext>
    </p:extLst>
  </p:cSld>
  <p:clrMapOvr>
    <a:masterClrMapping/>
  </p:clrMapOv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00521769"/>
      </p:ext>
    </p:extLst>
  </p:cSld>
  <p:clrMapOvr>
    <a:masterClrMapping/>
  </p:clrMapOv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004131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템플릿">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826202"/>
      </p:ext>
    </p:extLst>
  </p:cSld>
  <p:clrMapOvr>
    <a:masterClrMapping/>
  </p:clrMapOv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5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70856"/>
      </p:ext>
    </p:extLst>
  </p:cSld>
  <p:clrMapOvr>
    <a:masterClrMapping/>
  </p:clrMapOv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978069"/>
      </p:ext>
    </p:extLst>
  </p:cSld>
  <p:clrMapOvr>
    <a:masterClrMapping/>
  </p:clrMapOv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50300507"/>
      </p:ext>
    </p:extLst>
  </p:cSld>
  <p:clrMapOvr>
    <a:masterClrMapping/>
  </p:clrMapOv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5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471559811"/>
      </p:ext>
    </p:extLst>
  </p:cSld>
  <p:clrMapOvr>
    <a:masterClrMapping/>
  </p:clrMapOv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15576851"/>
      </p:ext>
    </p:extLst>
  </p:cSld>
  <p:clrMapOvr>
    <a:masterClrMapping/>
  </p:clrMapOvr>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95639394"/>
      </p:ext>
    </p:extLst>
  </p:cSld>
  <p:clrMapOvr>
    <a:masterClrMapping/>
  </p:clrMapOvr>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650755160"/>
      </p:ext>
    </p:extLst>
  </p:cSld>
  <p:clrMapOvr>
    <a:masterClrMapping/>
  </p:clrMapOv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6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8960063"/>
      </p:ext>
    </p:extLst>
  </p:cSld>
  <p:clrMapOvr>
    <a:masterClrMapping/>
  </p:clrMapOv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54145844"/>
      </p:ext>
    </p:extLst>
  </p:cSld>
  <p:clrMapOvr>
    <a:masterClrMapping/>
  </p:clrMapOvr>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7704096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1700831"/>
      </p:ext>
    </p:extLst>
  </p:cSld>
  <p:clrMapOvr>
    <a:masterClrMapping/>
  </p:clrMapOv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6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12109955"/>
      </p:ext>
    </p:extLst>
  </p:cSld>
  <p:clrMapOvr>
    <a:masterClrMapping/>
  </p:clrMapOvr>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87557375"/>
      </p:ext>
    </p:extLst>
  </p:cSld>
  <p:clrMapOvr>
    <a:masterClrMapping/>
  </p:clrMapOvr>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49359861"/>
      </p:ext>
    </p:extLst>
  </p:cSld>
  <p:clrMapOvr>
    <a:masterClrMapping/>
  </p:clrMapOv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7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323593524"/>
      </p:ext>
    </p:extLst>
  </p:cSld>
  <p:clrMapOvr>
    <a:masterClrMapping/>
  </p:clrMapOv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17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634179"/>
      </p:ext>
    </p:extLst>
  </p:cSld>
  <p:clrMapOvr>
    <a:masterClrMapping/>
  </p:clrMapOv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977247677"/>
      </p:ext>
    </p:extLst>
  </p:cSld>
  <p:clrMapOvr>
    <a:masterClrMapping/>
  </p:clrMapOvr>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14794589"/>
      </p:ext>
    </p:extLst>
  </p:cSld>
  <p:clrMapOvr>
    <a:masterClrMapping/>
  </p:clrMapOv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7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377171163"/>
      </p:ext>
    </p:extLst>
  </p:cSld>
  <p:clrMapOvr>
    <a:masterClrMapping/>
  </p:clrMapOv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79256162"/>
      </p:ext>
    </p:extLst>
  </p:cSld>
  <p:clrMapOvr>
    <a:masterClrMapping/>
  </p:clrMapOv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4057714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65546519"/>
      </p:ext>
    </p:extLst>
  </p:cSld>
  <p:clrMapOvr>
    <a:masterClrMapping/>
  </p:clrMapOv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610823541"/>
      </p:ext>
    </p:extLst>
  </p:cSld>
  <p:clrMapOvr>
    <a:masterClrMapping/>
  </p:clrMapOv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18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1957926"/>
      </p:ext>
    </p:extLst>
  </p:cSld>
  <p:clrMapOvr>
    <a:masterClrMapping/>
  </p:clrMapOv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661958118"/>
      </p:ext>
    </p:extLst>
  </p:cSld>
  <p:clrMapOvr>
    <a:masterClrMapping/>
  </p:clrMapOv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13293288"/>
      </p:ext>
    </p:extLst>
  </p:cSld>
  <p:clrMapOvr>
    <a:masterClrMapping/>
  </p:clrMapOv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8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41633914"/>
      </p:ext>
    </p:extLst>
  </p:cSld>
  <p:clrMapOvr>
    <a:masterClrMapping/>
  </p:clrMapOv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64669086"/>
      </p:ext>
    </p:extLst>
  </p:cSld>
  <p:clrMapOvr>
    <a:masterClrMapping/>
  </p:clrMapOv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54339032"/>
      </p:ext>
    </p:extLst>
  </p:cSld>
  <p:clrMapOvr>
    <a:masterClrMapping/>
  </p:clrMapOv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824716316"/>
      </p:ext>
    </p:extLst>
  </p:cSld>
  <p:clrMapOvr>
    <a:masterClrMapping/>
  </p:clrMapOv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9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1316793"/>
      </p:ext>
    </p:extLst>
  </p:cSld>
  <p:clrMapOvr>
    <a:masterClrMapping/>
  </p:clrMapOvr>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80058991"/>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00506641"/>
      </p:ext>
    </p:extLst>
  </p:cSld>
  <p:clrMapOvr>
    <a:masterClrMapping/>
  </p:clrMapOv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77022274"/>
      </p:ext>
    </p:extLst>
  </p:cSld>
  <p:clrMapOvr>
    <a:masterClrMapping/>
  </p:clrMapOv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9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239433924"/>
      </p:ext>
    </p:extLst>
  </p:cSld>
  <p:clrMapOvr>
    <a:masterClrMapping/>
  </p:clrMapOv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11246302"/>
      </p:ext>
    </p:extLst>
  </p:cSld>
  <p:clrMapOvr>
    <a:masterClrMapping/>
  </p:clrMapOvr>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16865172"/>
      </p:ext>
    </p:extLst>
  </p:cSld>
  <p:clrMapOvr>
    <a:masterClrMapping/>
  </p:clrMapOvr>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0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943283350"/>
      </p:ext>
    </p:extLst>
  </p:cSld>
  <p:clrMapOvr>
    <a:masterClrMapping/>
  </p:clrMapOv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20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8345281"/>
      </p:ext>
    </p:extLst>
  </p:cSld>
  <p:clrMapOvr>
    <a:masterClrMapping/>
  </p:clrMapOv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0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431822764"/>
      </p:ext>
    </p:extLst>
  </p:cSld>
  <p:clrMapOvr>
    <a:masterClrMapping/>
  </p:clrMapOv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80790889"/>
      </p:ext>
    </p:extLst>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0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341213210"/>
      </p:ext>
    </p:extLst>
  </p:cSld>
  <p:clrMapOvr>
    <a:masterClrMapping/>
  </p:clrMapOv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3026366"/>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2218087"/>
      </p:ext>
    </p:extLst>
  </p:cSld>
  <p:clrMapOvr>
    <a:masterClrMapping/>
  </p:clrMapOv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789955304"/>
      </p:ext>
    </p:extLst>
  </p:cSld>
  <p:clrMapOvr>
    <a:masterClrMapping/>
  </p:clrMapOv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363469626"/>
      </p:ext>
    </p:extLst>
  </p:cSld>
  <p:clrMapOvr>
    <a:masterClrMapping/>
  </p:clrMapOv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2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5501605"/>
      </p:ext>
    </p:extLst>
  </p:cSld>
  <p:clrMapOvr>
    <a:masterClrMapping/>
  </p:clrMapOv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302280855"/>
      </p:ext>
    </p:extLst>
  </p:cSld>
  <p:clrMapOvr>
    <a:masterClrMapping/>
  </p:clrMapOv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10564511"/>
      </p:ext>
    </p:extLst>
  </p:cSld>
  <p:clrMapOvr>
    <a:masterClrMapping/>
  </p:clrMapOv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21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81709525"/>
      </p:ext>
    </p:extLst>
  </p:cSld>
  <p:clrMapOvr>
    <a:masterClrMapping/>
  </p:clrMapOv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마스터 _ 타이틀 + 서브 타이틀">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6" name="Rectangle 3"/>
          <p:cNvSpPr>
            <a:spLocks noChangeArrowheads="1"/>
          </p:cNvSpPr>
          <p:nvPr userDrawn="1"/>
        </p:nvSpPr>
        <p:spPr bwMode="auto">
          <a:xfrm>
            <a:off x="8736842" y="6447941"/>
            <a:ext cx="55936" cy="151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scene3d>
              <a:camera prst="orthographicFront"/>
              <a:lightRig rig="threePt" dir="t"/>
            </a:scene3d>
            <a:sp3d>
              <a:bevelT w="1270" h="1270"/>
            </a:sp3d>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a:lnSpc>
                <a:spcPct val="110000"/>
              </a:lnSpc>
              <a:spcBef>
                <a:spcPct val="0"/>
              </a:spcBef>
              <a:spcAft>
                <a:spcPct val="0"/>
              </a:spcAft>
            </a:pPr>
            <a:fld id="{88B3AE5A-10BA-4173-8E7E-D8F2BB88D393}" type="slidenum">
              <a:rPr kumimoji="1" lang="en-US" altLang="ko-KR" sz="900" spc="-60">
                <a:solidFill>
                  <a:srgbClr val="FFFFFF">
                    <a:lumMod val="75000"/>
                  </a:srgbClr>
                </a:solidFill>
                <a:cs typeface="굴림" pitchFamily="50" charset="-127"/>
              </a:rPr>
              <a:pPr algn="r" fontAlgn="base">
                <a:lnSpc>
                  <a:spcPct val="110000"/>
                </a:lnSpc>
                <a:spcBef>
                  <a:spcPct val="0"/>
                </a:spcBef>
                <a:spcAft>
                  <a:spcPct val="0"/>
                </a:spcAft>
              </a:pPr>
              <a:t>‹#›</a:t>
            </a:fld>
            <a:endParaRPr kumimoji="1" lang="ko-KR" altLang="ko-KR" sz="900" spc="-60">
              <a:solidFill>
                <a:srgbClr val="FFFFFF">
                  <a:lumMod val="75000"/>
                </a:srgbClr>
              </a:solidFill>
              <a:cs typeface="굴림" pitchFamily="50" charset="-127"/>
            </a:endParaRPr>
          </a:p>
        </p:txBody>
      </p:sp>
      <p:sp>
        <p:nvSpPr>
          <p:cNvPr id="7" name="Rectangle 3"/>
          <p:cNvSpPr>
            <a:spLocks noChangeArrowheads="1"/>
          </p:cNvSpPr>
          <p:nvPr userDrawn="1"/>
        </p:nvSpPr>
        <p:spPr bwMode="auto">
          <a:xfrm>
            <a:off x="8736842" y="6447941"/>
            <a:ext cx="55936" cy="151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scene3d>
              <a:camera prst="orthographicFront"/>
              <a:lightRig rig="threePt" dir="t"/>
            </a:scene3d>
            <a:sp3d>
              <a:bevelT w="1270" h="1270"/>
            </a:sp3d>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a:lnSpc>
                <a:spcPct val="110000"/>
              </a:lnSpc>
              <a:spcBef>
                <a:spcPct val="0"/>
              </a:spcBef>
              <a:spcAft>
                <a:spcPct val="0"/>
              </a:spcAft>
            </a:pPr>
            <a:fld id="{88B3AE5A-10BA-4173-8E7E-D8F2BB88D393}" type="slidenum">
              <a:rPr kumimoji="1" lang="en-US" altLang="ko-KR" sz="900" spc="-60">
                <a:solidFill>
                  <a:srgbClr val="FFFFFF">
                    <a:lumMod val="75000"/>
                  </a:srgbClr>
                </a:solidFill>
                <a:cs typeface="굴림" pitchFamily="50" charset="-127"/>
              </a:rPr>
              <a:pPr algn="r" fontAlgn="base">
                <a:lnSpc>
                  <a:spcPct val="110000"/>
                </a:lnSpc>
                <a:spcBef>
                  <a:spcPct val="0"/>
                </a:spcBef>
                <a:spcAft>
                  <a:spcPct val="0"/>
                </a:spcAft>
              </a:pPr>
              <a:t>‹#›</a:t>
            </a:fld>
            <a:endParaRPr kumimoji="1" lang="ko-KR" altLang="ko-KR" sz="900" spc="-60">
              <a:solidFill>
                <a:srgbClr val="FFFFFF">
                  <a:lumMod val="75000"/>
                </a:srgbClr>
              </a:solidFill>
              <a:cs typeface="굴림" pitchFamily="50" charset="-127"/>
            </a:endParaRPr>
          </a:p>
        </p:txBody>
      </p:sp>
      <p:sp>
        <p:nvSpPr>
          <p:cNvPr id="9" name="텍스트 개체 틀 38"/>
          <p:cNvSpPr>
            <a:spLocks noGrp="1"/>
          </p:cNvSpPr>
          <p:nvPr>
            <p:ph type="body" idx="1"/>
          </p:nvPr>
        </p:nvSpPr>
        <p:spPr>
          <a:xfrm>
            <a:off x="716804" y="1095102"/>
            <a:ext cx="7698237" cy="304699"/>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marL="0" indent="0" algn="l" defTabSz="914229" rtl="0" eaLnBrk="1" latinLnBrk="0" hangingPunct="1">
              <a:lnSpc>
                <a:spcPct val="110000"/>
              </a:lnSpc>
              <a:spcBef>
                <a:spcPct val="20000"/>
              </a:spcBef>
              <a:buFont typeface="Arial" pitchFamily="34" charset="0"/>
              <a:buNone/>
              <a:defRPr lang="en-US" altLang="ko-KR" sz="1800" b="1" kern="1200" spc="0" baseline="0">
                <a:ln>
                  <a:noFill/>
                </a:ln>
                <a:solidFill>
                  <a:schemeClr val="tx1"/>
                </a:solidFill>
                <a:latin typeface="누리 B" panose="02020603020101020101" pitchFamily="18" charset="-127"/>
                <a:ea typeface="누리 B" panose="02020603020101020101" pitchFamily="18" charset="-127"/>
                <a:cs typeface="+mn-cs"/>
              </a:defRPr>
            </a:lvl1pPr>
          </a:lstStyle>
          <a:p>
            <a:endParaRPr lang="en-US" altLang="ko-KR"/>
          </a:p>
        </p:txBody>
      </p:sp>
      <p:sp>
        <p:nvSpPr>
          <p:cNvPr id="12"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0" baseline="0">
                <a:ln>
                  <a:noFill/>
                </a:ln>
                <a:solidFill>
                  <a:schemeClr val="accent1"/>
                </a:solidFill>
                <a:latin typeface="누리 B" panose="02020603020101020101" pitchFamily="18" charset="-127"/>
                <a:ea typeface="누리 B" panose="02020603020101020101" pitchFamily="18" charset="-127"/>
              </a:defRPr>
            </a:lvl1pPr>
          </a:lstStyle>
          <a:p>
            <a:pPr marL="0" lvl="0" algn="l" defTabSz="914400" latinLnBrk="0"/>
            <a:r>
              <a:rPr lang="ko-KR" altLang="en-US" smtClean="0"/>
              <a:t>마스터 제목 스타일 편집</a:t>
            </a:r>
            <a:endParaRPr lang="ko-KR" altLang="en-US"/>
          </a:p>
        </p:txBody>
      </p:sp>
      <p:sp>
        <p:nvSpPr>
          <p:cNvPr id="13" name="텍스트 개체 틀 8"/>
          <p:cNvSpPr>
            <a:spLocks noGrp="1"/>
          </p:cNvSpPr>
          <p:nvPr>
            <p:ph type="body" sz="quarter" idx="10" hasCustomPrompt="1"/>
          </p:nvPr>
        </p:nvSpPr>
        <p:spPr>
          <a:xfrm>
            <a:off x="250802" y="702265"/>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누리 B" panose="02020603020101020101" pitchFamily="18" charset="-127"/>
                <a:ea typeface="누리 B" panose="02020603020101020101" pitchFamily="18" charset="-127"/>
              </a:defRPr>
            </a:lvl1pPr>
          </a:lstStyle>
          <a:p>
            <a:pPr lvl="0"/>
            <a:r>
              <a:rPr lang="en-US" altLang="ko-KR" smtClean="0"/>
              <a:t> </a:t>
            </a:r>
            <a:endParaRPr lang="ko-KR" altLang="en-US"/>
          </a:p>
        </p:txBody>
      </p:sp>
    </p:spTree>
    <p:extLst>
      <p:ext uri="{BB962C8B-B14F-4D97-AF65-F5344CB8AC3E}">
        <p14:creationId xmlns:p14="http://schemas.microsoft.com/office/powerpoint/2010/main" val="1802186181"/>
      </p:ext>
    </p:extLst>
  </p:cSld>
  <p:clrMapOvr>
    <a:masterClrMapping/>
  </p:clrMapOv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마스터 _ 타이틀">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0" baseline="0">
                <a:ln>
                  <a:noFill/>
                </a:ln>
                <a:solidFill>
                  <a:schemeClr val="accent1"/>
                </a:solidFill>
                <a:latin typeface="누리 B" panose="02020603020101020101" pitchFamily="18" charset="-127"/>
                <a:ea typeface="누리 B" panose="02020603020101020101" pitchFamily="18" charset="-127"/>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2" y="702265"/>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누리 B" panose="02020603020101020101" pitchFamily="18" charset="-127"/>
                <a:ea typeface="누리 B" panose="02020603020101020101" pitchFamily="18" charset="-127"/>
              </a:defRPr>
            </a:lvl1pPr>
          </a:lstStyle>
          <a:p>
            <a:pPr lvl="0"/>
            <a:r>
              <a:rPr lang="en-US" altLang="ko-KR" smtClean="0"/>
              <a:t> </a:t>
            </a:r>
            <a:endParaRPr lang="ko-KR" altLang="en-US"/>
          </a:p>
        </p:txBody>
      </p:sp>
    </p:spTree>
    <p:extLst>
      <p:ext uri="{BB962C8B-B14F-4D97-AF65-F5344CB8AC3E}">
        <p14:creationId xmlns:p14="http://schemas.microsoft.com/office/powerpoint/2010/main" val="4293527590"/>
      </p:ext>
    </p:extLst>
  </p:cSld>
  <p:clrMapOvr>
    <a:masterClrMapping/>
  </p:clrMapOv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userDrawn="1">
  <p:cSld name="BC_Template_제목">
    <p:spTree>
      <p:nvGrpSpPr>
        <p:cNvPr id="1" name=""/>
        <p:cNvGrpSpPr/>
        <p:nvPr/>
      </p:nvGrpSpPr>
      <p:grpSpPr>
        <a:xfrm>
          <a:off x="0" y="0"/>
          <a:ext cx="0" cy="0"/>
          <a:chOff x="0" y="0"/>
          <a:chExt cx="0" cy="0"/>
        </a:xfrm>
      </p:grpSpPr>
      <p:sp>
        <p:nvSpPr>
          <p:cNvPr id="12" name="직사각형 11"/>
          <p:cNvSpPr/>
          <p:nvPr userDrawn="1"/>
        </p:nvSpPr>
        <p:spPr>
          <a:xfrm>
            <a:off x="179516"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endParaRPr lang="ko-KR" altLang="en-US">
              <a:solidFill>
                <a:srgbClr val="FFFFFF"/>
              </a:solidFill>
            </a:endParaRPr>
          </a:p>
        </p:txBody>
      </p:sp>
      <p:sp>
        <p:nvSpPr>
          <p:cNvPr id="21" name="Title 1"/>
          <p:cNvSpPr>
            <a:spLocks noGrp="1"/>
          </p:cNvSpPr>
          <p:nvPr>
            <p:ph type="ctrTitle" hasCustomPrompt="1"/>
            <p:custDataLst>
              <p:tags r:id="rId1"/>
            </p:custDataLst>
          </p:nvPr>
        </p:nvSpPr>
        <p:spPr>
          <a:xfrm>
            <a:off x="395288" y="1478609"/>
            <a:ext cx="8352000" cy="437505"/>
          </a:xfrm>
          <a:prstGeom prst="rect">
            <a:avLst/>
          </a:prstGeom>
          <a:noFill/>
          <a:ln w="6350" cap="flat">
            <a:noFill/>
          </a:ln>
        </p:spPr>
        <p:txBody>
          <a:bodyPr vert="horz" wrap="square" lIns="0" tIns="0" rIns="0" bIns="0" anchor="t" anchorCtr="0">
            <a:noAutofit/>
          </a:bodyPr>
          <a:lstStyle>
            <a:lvl1pPr algn="l" fontAlgn="base" latinLnBrk="0">
              <a:lnSpc>
                <a:spcPct val="90000"/>
              </a:lnSpc>
              <a:defRPr sz="2800" b="0" baseline="0">
                <a:solidFill>
                  <a:schemeClr val="tx1"/>
                </a:solidFill>
                <a:latin typeface="NOVA ExtraBold" panose="00000800000000000000" pitchFamily="2" charset="-127"/>
                <a:ea typeface="NOVA ExtraBold" panose="00000800000000000000" pitchFamily="2" charset="-127"/>
                <a:cs typeface="Arial" pitchFamily="34" charset="0"/>
              </a:defRPr>
            </a:lvl1pPr>
          </a:lstStyle>
          <a:p>
            <a:r>
              <a:rPr lang="en-US" smtClean="0"/>
              <a:t>Presentation title here</a:t>
            </a:r>
            <a:endParaRPr lang="de-DE"/>
          </a:p>
        </p:txBody>
      </p:sp>
      <p:sp>
        <p:nvSpPr>
          <p:cNvPr id="13"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4" name="직사각형 13"/>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r>
              <a:rPr lang="en-US" altLang="ko-KR" sz="900">
                <a:solidFill>
                  <a:srgbClr val="FA3246"/>
                </a:solidFill>
                <a:latin typeface="NOVA Medium" panose="00000600000000000000" pitchFamily="2" charset="-127"/>
                <a:ea typeface="NOVA Medium" panose="00000600000000000000" pitchFamily="2" charset="-127"/>
              </a:rPr>
              <a:t>Asia No.1 </a:t>
            </a:r>
            <a:r>
              <a:rPr lang="en-US" altLang="ko-KR" sz="900">
                <a:solidFill>
                  <a:srgbClr val="FFFFFF">
                    <a:lumMod val="50000"/>
                  </a:srgbClr>
                </a:solidFill>
                <a:latin typeface="NOVA Medium" panose="00000600000000000000" pitchFamily="2" charset="-127"/>
                <a:ea typeface="NOVA Medium" panose="00000600000000000000" pitchFamily="2" charset="-127"/>
              </a:rPr>
              <a:t>Payment Service Company</a:t>
            </a:r>
            <a:endParaRPr lang="ko-KR" altLang="en-US" sz="900">
              <a:solidFill>
                <a:srgbClr val="FFFFFF">
                  <a:lumMod val="50000"/>
                </a:srgbClr>
              </a:solidFill>
              <a:latin typeface="NOVA Medium" panose="00000600000000000000" pitchFamily="2" charset="-127"/>
              <a:ea typeface="NOVA Medium" panose="00000600000000000000" pitchFamily="2" charset="-127"/>
            </a:endParaRPr>
          </a:p>
        </p:txBody>
      </p:sp>
      <p:pic>
        <p:nvPicPr>
          <p:cNvPr id="15"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32118"/>
      </p:ext>
    </p:extLst>
  </p:cSld>
  <p:clrMapOvr>
    <a:masterClrMapping/>
  </p:clrMapOv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1_마스터 _ 타이틀">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0" baseline="0">
                <a:ln>
                  <a:noFill/>
                </a:ln>
                <a:solidFill>
                  <a:schemeClr val="accent1"/>
                </a:solidFill>
                <a:latin typeface="누리 B" panose="02020603020101020101" pitchFamily="18" charset="-127"/>
                <a:ea typeface="누리 B" panose="02020603020101020101" pitchFamily="18" charset="-127"/>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0" baseline="0">
                <a:ln>
                  <a:noFill/>
                </a:ln>
                <a:solidFill>
                  <a:schemeClr val="accent6"/>
                </a:solidFill>
                <a:latin typeface="누리 B" panose="02020603020101020101" pitchFamily="18" charset="-127"/>
                <a:ea typeface="누리 B" panose="02020603020101020101" pitchFamily="18" charset="-127"/>
              </a:defRPr>
            </a:lvl1pPr>
          </a:lstStyle>
          <a:p>
            <a:pPr lvl="0"/>
            <a:r>
              <a:rPr lang="en-US" altLang="ko-KR" smtClean="0"/>
              <a:t> </a:t>
            </a:r>
            <a:endParaRPr lang="ko-KR" altLang="en-US"/>
          </a:p>
        </p:txBody>
      </p:sp>
    </p:spTree>
    <p:extLst>
      <p:ext uri="{BB962C8B-B14F-4D97-AF65-F5344CB8AC3E}">
        <p14:creationId xmlns:p14="http://schemas.microsoft.com/office/powerpoint/2010/main" val="3089981730"/>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308263149"/>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23682834"/>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98094910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948739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87274925"/>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19679729"/>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337584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8902354"/>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58675261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86617863"/>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20190292"/>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816834375"/>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73272141"/>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32026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55341033"/>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40445746"/>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6965149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7/16/2019</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38892162"/>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457053207"/>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917979897"/>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18890"/>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931824903"/>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000655497"/>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260390346"/>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27474797"/>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75428579"/>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07369415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7/16/2019</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3755361"/>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338819412"/>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46659524"/>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05669619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18691054"/>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861310313"/>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38232569"/>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7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175053"/>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956968558"/>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6982736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7/16/2019</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279242982"/>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681212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85337390"/>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05977079"/>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8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934085"/>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8504001"/>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2639480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8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396784620"/>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7557765"/>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6524900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12600906"/>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9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407645"/>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81656939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5180977"/>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913383110"/>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59565384"/>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877715425"/>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812733643"/>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0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7135249"/>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21826129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7/16/2019</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59709597"/>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228241430"/>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219696591"/>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59638887"/>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023478376"/>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1_Cover Page">
    <p:bg>
      <p:bgPr>
        <a:solidFill>
          <a:schemeClr val="bg1"/>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302225"/>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26703516"/>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43040098"/>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1_BC_Template_본문">
    <p:spTree>
      <p:nvGrpSpPr>
        <p:cNvPr id="1" name=""/>
        <p:cNvGrpSpPr/>
        <p:nvPr/>
      </p:nvGrpSpPr>
      <p:grpSpPr>
        <a:xfrm>
          <a:off x="0" y="0"/>
          <a:ext cx="0" cy="0"/>
          <a:chOff x="0" y="0"/>
          <a:ch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27124367"/>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lgn="l"/>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8094440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38" Type="http://schemas.openxmlformats.org/officeDocument/2006/relationships/slideLayout" Target="../slideLayouts/slideLayout149.xml"/><Relationship Id="rId154" Type="http://schemas.openxmlformats.org/officeDocument/2006/relationships/slideLayout" Target="../slideLayouts/slideLayout165.xml"/><Relationship Id="rId159" Type="http://schemas.openxmlformats.org/officeDocument/2006/relationships/vmlDrawing" Target="../drawings/vmlDrawing1.v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28" Type="http://schemas.openxmlformats.org/officeDocument/2006/relationships/slideLayout" Target="../slideLayouts/slideLayout139.xml"/><Relationship Id="rId144" Type="http://schemas.openxmlformats.org/officeDocument/2006/relationships/slideLayout" Target="../slideLayouts/slideLayout155.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160" Type="http://schemas.openxmlformats.org/officeDocument/2006/relationships/tags" Target="../tags/tag2.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slideLayout" Target="../slideLayouts/slideLayout129.xml"/><Relationship Id="rId134" Type="http://schemas.openxmlformats.org/officeDocument/2006/relationships/slideLayout" Target="../slideLayouts/slideLayout145.xml"/><Relationship Id="rId139" Type="http://schemas.openxmlformats.org/officeDocument/2006/relationships/slideLayout" Target="../slideLayouts/slideLayout150.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55" Type="http://schemas.openxmlformats.org/officeDocument/2006/relationships/slideLayout" Target="../slideLayouts/slideLayout16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45" Type="http://schemas.openxmlformats.org/officeDocument/2006/relationships/slideLayout" Target="../slideLayouts/slideLayout156.xml"/><Relationship Id="rId161"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30" Type="http://schemas.openxmlformats.org/officeDocument/2006/relationships/slideLayout" Target="../slideLayouts/slideLayout141.xml"/><Relationship Id="rId135" Type="http://schemas.openxmlformats.org/officeDocument/2006/relationships/slideLayout" Target="../slideLayouts/slideLayout146.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51" Type="http://schemas.openxmlformats.org/officeDocument/2006/relationships/slideLayout" Target="../slideLayouts/slideLayout162.xml"/><Relationship Id="rId156" Type="http://schemas.openxmlformats.org/officeDocument/2006/relationships/slideLayout" Target="../slideLayouts/slideLayout16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141" Type="http://schemas.openxmlformats.org/officeDocument/2006/relationships/slideLayout" Target="../slideLayouts/slideLayout152.xml"/><Relationship Id="rId146" Type="http://schemas.openxmlformats.org/officeDocument/2006/relationships/slideLayout" Target="../slideLayouts/slideLayout15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162" Type="http://schemas.openxmlformats.org/officeDocument/2006/relationships/image" Target="../media/image1.emf"/><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slideLayout" Target="../slideLayouts/slideLayout16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image" Target="../media/image2.jpeg"/><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94.xml"/><Relationship Id="rId117" Type="http://schemas.openxmlformats.org/officeDocument/2006/relationships/slideLayout" Target="../slideLayouts/slideLayout285.xml"/><Relationship Id="rId21" Type="http://schemas.openxmlformats.org/officeDocument/2006/relationships/slideLayout" Target="../slideLayouts/slideLayout189.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63" Type="http://schemas.openxmlformats.org/officeDocument/2006/relationships/slideLayout" Target="../slideLayouts/slideLayout231.xml"/><Relationship Id="rId68" Type="http://schemas.openxmlformats.org/officeDocument/2006/relationships/slideLayout" Target="../slideLayouts/slideLayout236.xml"/><Relationship Id="rId84" Type="http://schemas.openxmlformats.org/officeDocument/2006/relationships/slideLayout" Target="../slideLayouts/slideLayout252.xml"/><Relationship Id="rId89" Type="http://schemas.openxmlformats.org/officeDocument/2006/relationships/slideLayout" Target="../slideLayouts/slideLayout257.xml"/><Relationship Id="rId112" Type="http://schemas.openxmlformats.org/officeDocument/2006/relationships/slideLayout" Target="../slideLayouts/slideLayout280.xml"/><Relationship Id="rId133" Type="http://schemas.openxmlformats.org/officeDocument/2006/relationships/slideLayout" Target="../slideLayouts/slideLayout301.xml"/><Relationship Id="rId138" Type="http://schemas.openxmlformats.org/officeDocument/2006/relationships/slideLayout" Target="../slideLayouts/slideLayout306.xml"/><Relationship Id="rId154" Type="http://schemas.openxmlformats.org/officeDocument/2006/relationships/slideLayout" Target="../slideLayouts/slideLayout322.xml"/><Relationship Id="rId159" Type="http://schemas.openxmlformats.org/officeDocument/2006/relationships/vmlDrawing" Target="../drawings/vmlDrawing2.vml"/><Relationship Id="rId16" Type="http://schemas.openxmlformats.org/officeDocument/2006/relationships/slideLayout" Target="../slideLayouts/slideLayout184.xml"/><Relationship Id="rId107" Type="http://schemas.openxmlformats.org/officeDocument/2006/relationships/slideLayout" Target="../slideLayouts/slideLayout275.xml"/><Relationship Id="rId11" Type="http://schemas.openxmlformats.org/officeDocument/2006/relationships/slideLayout" Target="../slideLayouts/slideLayout179.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53" Type="http://schemas.openxmlformats.org/officeDocument/2006/relationships/slideLayout" Target="../slideLayouts/slideLayout221.xml"/><Relationship Id="rId58" Type="http://schemas.openxmlformats.org/officeDocument/2006/relationships/slideLayout" Target="../slideLayouts/slideLayout226.xml"/><Relationship Id="rId74" Type="http://schemas.openxmlformats.org/officeDocument/2006/relationships/slideLayout" Target="../slideLayouts/slideLayout242.xml"/><Relationship Id="rId79" Type="http://schemas.openxmlformats.org/officeDocument/2006/relationships/slideLayout" Target="../slideLayouts/slideLayout247.xml"/><Relationship Id="rId102" Type="http://schemas.openxmlformats.org/officeDocument/2006/relationships/slideLayout" Target="../slideLayouts/slideLayout270.xml"/><Relationship Id="rId123" Type="http://schemas.openxmlformats.org/officeDocument/2006/relationships/slideLayout" Target="../slideLayouts/slideLayout291.xml"/><Relationship Id="rId128" Type="http://schemas.openxmlformats.org/officeDocument/2006/relationships/slideLayout" Target="../slideLayouts/slideLayout296.xml"/><Relationship Id="rId144" Type="http://schemas.openxmlformats.org/officeDocument/2006/relationships/slideLayout" Target="../slideLayouts/slideLayout312.xml"/><Relationship Id="rId149" Type="http://schemas.openxmlformats.org/officeDocument/2006/relationships/slideLayout" Target="../slideLayouts/slideLayout317.xml"/><Relationship Id="rId5" Type="http://schemas.openxmlformats.org/officeDocument/2006/relationships/slideLayout" Target="../slideLayouts/slideLayout173.xml"/><Relationship Id="rId90" Type="http://schemas.openxmlformats.org/officeDocument/2006/relationships/slideLayout" Target="../slideLayouts/slideLayout258.xml"/><Relationship Id="rId95" Type="http://schemas.openxmlformats.org/officeDocument/2006/relationships/slideLayout" Target="../slideLayouts/slideLayout263.xml"/><Relationship Id="rId160" Type="http://schemas.openxmlformats.org/officeDocument/2006/relationships/tags" Target="../tags/tag273.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64" Type="http://schemas.openxmlformats.org/officeDocument/2006/relationships/slideLayout" Target="../slideLayouts/slideLayout232.xml"/><Relationship Id="rId69" Type="http://schemas.openxmlformats.org/officeDocument/2006/relationships/slideLayout" Target="../slideLayouts/slideLayout237.xml"/><Relationship Id="rId113" Type="http://schemas.openxmlformats.org/officeDocument/2006/relationships/slideLayout" Target="../slideLayouts/slideLayout281.xml"/><Relationship Id="rId118" Type="http://schemas.openxmlformats.org/officeDocument/2006/relationships/slideLayout" Target="../slideLayouts/slideLayout286.xml"/><Relationship Id="rId134" Type="http://schemas.openxmlformats.org/officeDocument/2006/relationships/slideLayout" Target="../slideLayouts/slideLayout302.xml"/><Relationship Id="rId139" Type="http://schemas.openxmlformats.org/officeDocument/2006/relationships/slideLayout" Target="../slideLayouts/slideLayout307.xml"/><Relationship Id="rId80" Type="http://schemas.openxmlformats.org/officeDocument/2006/relationships/slideLayout" Target="../slideLayouts/slideLayout248.xml"/><Relationship Id="rId85" Type="http://schemas.openxmlformats.org/officeDocument/2006/relationships/slideLayout" Target="../slideLayouts/slideLayout253.xml"/><Relationship Id="rId150" Type="http://schemas.openxmlformats.org/officeDocument/2006/relationships/slideLayout" Target="../slideLayouts/slideLayout318.xml"/><Relationship Id="rId155" Type="http://schemas.openxmlformats.org/officeDocument/2006/relationships/slideLayout" Target="../slideLayouts/slideLayout323.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59" Type="http://schemas.openxmlformats.org/officeDocument/2006/relationships/slideLayout" Target="../slideLayouts/slideLayout227.xml"/><Relationship Id="rId103" Type="http://schemas.openxmlformats.org/officeDocument/2006/relationships/slideLayout" Target="../slideLayouts/slideLayout271.xml"/><Relationship Id="rId108" Type="http://schemas.openxmlformats.org/officeDocument/2006/relationships/slideLayout" Target="../slideLayouts/slideLayout276.xml"/><Relationship Id="rId124" Type="http://schemas.openxmlformats.org/officeDocument/2006/relationships/slideLayout" Target="../slideLayouts/slideLayout292.xml"/><Relationship Id="rId129" Type="http://schemas.openxmlformats.org/officeDocument/2006/relationships/slideLayout" Target="../slideLayouts/slideLayout297.xml"/><Relationship Id="rId54" Type="http://schemas.openxmlformats.org/officeDocument/2006/relationships/slideLayout" Target="../slideLayouts/slideLayout222.xml"/><Relationship Id="rId70" Type="http://schemas.openxmlformats.org/officeDocument/2006/relationships/slideLayout" Target="../slideLayouts/slideLayout238.xml"/><Relationship Id="rId75" Type="http://schemas.openxmlformats.org/officeDocument/2006/relationships/slideLayout" Target="../slideLayouts/slideLayout243.xml"/><Relationship Id="rId91" Type="http://schemas.openxmlformats.org/officeDocument/2006/relationships/slideLayout" Target="../slideLayouts/slideLayout259.xml"/><Relationship Id="rId96" Type="http://schemas.openxmlformats.org/officeDocument/2006/relationships/slideLayout" Target="../slideLayouts/slideLayout264.xml"/><Relationship Id="rId140" Type="http://schemas.openxmlformats.org/officeDocument/2006/relationships/slideLayout" Target="../slideLayouts/slideLayout308.xml"/><Relationship Id="rId145" Type="http://schemas.openxmlformats.org/officeDocument/2006/relationships/slideLayout" Target="../slideLayouts/slideLayout313.xml"/><Relationship Id="rId161" Type="http://schemas.openxmlformats.org/officeDocument/2006/relationships/oleObject" Target="../embeddings/oleObject2.bin"/><Relationship Id="rId1" Type="http://schemas.openxmlformats.org/officeDocument/2006/relationships/slideLayout" Target="../slideLayouts/slideLayout169.xml"/><Relationship Id="rId6" Type="http://schemas.openxmlformats.org/officeDocument/2006/relationships/slideLayout" Target="../slideLayouts/slideLayout174.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57" Type="http://schemas.openxmlformats.org/officeDocument/2006/relationships/slideLayout" Target="../slideLayouts/slideLayout225.xml"/><Relationship Id="rId106" Type="http://schemas.openxmlformats.org/officeDocument/2006/relationships/slideLayout" Target="../slideLayouts/slideLayout274.xml"/><Relationship Id="rId114" Type="http://schemas.openxmlformats.org/officeDocument/2006/relationships/slideLayout" Target="../slideLayouts/slideLayout282.xml"/><Relationship Id="rId119" Type="http://schemas.openxmlformats.org/officeDocument/2006/relationships/slideLayout" Target="../slideLayouts/slideLayout287.xml"/><Relationship Id="rId127" Type="http://schemas.openxmlformats.org/officeDocument/2006/relationships/slideLayout" Target="../slideLayouts/slideLayout295.xml"/><Relationship Id="rId10" Type="http://schemas.openxmlformats.org/officeDocument/2006/relationships/slideLayout" Target="../slideLayouts/slideLayout178.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slideLayout" Target="../slideLayouts/slideLayout220.xml"/><Relationship Id="rId60" Type="http://schemas.openxmlformats.org/officeDocument/2006/relationships/slideLayout" Target="../slideLayouts/slideLayout228.xml"/><Relationship Id="rId65" Type="http://schemas.openxmlformats.org/officeDocument/2006/relationships/slideLayout" Target="../slideLayouts/slideLayout233.xml"/><Relationship Id="rId73" Type="http://schemas.openxmlformats.org/officeDocument/2006/relationships/slideLayout" Target="../slideLayouts/slideLayout241.xml"/><Relationship Id="rId78" Type="http://schemas.openxmlformats.org/officeDocument/2006/relationships/slideLayout" Target="../slideLayouts/slideLayout246.xml"/><Relationship Id="rId81" Type="http://schemas.openxmlformats.org/officeDocument/2006/relationships/slideLayout" Target="../slideLayouts/slideLayout249.xml"/><Relationship Id="rId86" Type="http://schemas.openxmlformats.org/officeDocument/2006/relationships/slideLayout" Target="../slideLayouts/slideLayout254.xml"/><Relationship Id="rId94" Type="http://schemas.openxmlformats.org/officeDocument/2006/relationships/slideLayout" Target="../slideLayouts/slideLayout262.xml"/><Relationship Id="rId99" Type="http://schemas.openxmlformats.org/officeDocument/2006/relationships/slideLayout" Target="../slideLayouts/slideLayout267.xml"/><Relationship Id="rId101" Type="http://schemas.openxmlformats.org/officeDocument/2006/relationships/slideLayout" Target="../slideLayouts/slideLayout269.xml"/><Relationship Id="rId122" Type="http://schemas.openxmlformats.org/officeDocument/2006/relationships/slideLayout" Target="../slideLayouts/slideLayout290.xml"/><Relationship Id="rId130" Type="http://schemas.openxmlformats.org/officeDocument/2006/relationships/slideLayout" Target="../slideLayouts/slideLayout298.xml"/><Relationship Id="rId135" Type="http://schemas.openxmlformats.org/officeDocument/2006/relationships/slideLayout" Target="../slideLayouts/slideLayout303.xml"/><Relationship Id="rId143" Type="http://schemas.openxmlformats.org/officeDocument/2006/relationships/slideLayout" Target="../slideLayouts/slideLayout311.xml"/><Relationship Id="rId148" Type="http://schemas.openxmlformats.org/officeDocument/2006/relationships/slideLayout" Target="../slideLayouts/slideLayout316.xml"/><Relationship Id="rId151" Type="http://schemas.openxmlformats.org/officeDocument/2006/relationships/slideLayout" Target="../slideLayouts/slideLayout319.xml"/><Relationship Id="rId156" Type="http://schemas.openxmlformats.org/officeDocument/2006/relationships/slideLayout" Target="../slideLayouts/slideLayout324.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9" Type="http://schemas.openxmlformats.org/officeDocument/2006/relationships/slideLayout" Target="../slideLayouts/slideLayout207.xml"/><Relationship Id="rId109" Type="http://schemas.openxmlformats.org/officeDocument/2006/relationships/slideLayout" Target="../slideLayouts/slideLayout277.xml"/><Relationship Id="rId34" Type="http://schemas.openxmlformats.org/officeDocument/2006/relationships/slideLayout" Target="../slideLayouts/slideLayout202.xml"/><Relationship Id="rId50" Type="http://schemas.openxmlformats.org/officeDocument/2006/relationships/slideLayout" Target="../slideLayouts/slideLayout218.xml"/><Relationship Id="rId55" Type="http://schemas.openxmlformats.org/officeDocument/2006/relationships/slideLayout" Target="../slideLayouts/slideLayout223.xml"/><Relationship Id="rId76" Type="http://schemas.openxmlformats.org/officeDocument/2006/relationships/slideLayout" Target="../slideLayouts/slideLayout244.xml"/><Relationship Id="rId97" Type="http://schemas.openxmlformats.org/officeDocument/2006/relationships/slideLayout" Target="../slideLayouts/slideLayout265.xml"/><Relationship Id="rId104" Type="http://schemas.openxmlformats.org/officeDocument/2006/relationships/slideLayout" Target="../slideLayouts/slideLayout272.xml"/><Relationship Id="rId120" Type="http://schemas.openxmlformats.org/officeDocument/2006/relationships/slideLayout" Target="../slideLayouts/slideLayout288.xml"/><Relationship Id="rId125" Type="http://schemas.openxmlformats.org/officeDocument/2006/relationships/slideLayout" Target="../slideLayouts/slideLayout293.xml"/><Relationship Id="rId141" Type="http://schemas.openxmlformats.org/officeDocument/2006/relationships/slideLayout" Target="../slideLayouts/slideLayout309.xml"/><Relationship Id="rId146" Type="http://schemas.openxmlformats.org/officeDocument/2006/relationships/slideLayout" Target="../slideLayouts/slideLayout314.xml"/><Relationship Id="rId7" Type="http://schemas.openxmlformats.org/officeDocument/2006/relationships/slideLayout" Target="../slideLayouts/slideLayout175.xml"/><Relationship Id="rId71" Type="http://schemas.openxmlformats.org/officeDocument/2006/relationships/slideLayout" Target="../slideLayouts/slideLayout239.xml"/><Relationship Id="rId92" Type="http://schemas.openxmlformats.org/officeDocument/2006/relationships/slideLayout" Target="../slideLayouts/slideLayout260.xml"/><Relationship Id="rId162" Type="http://schemas.openxmlformats.org/officeDocument/2006/relationships/image" Target="../media/image1.emf"/><Relationship Id="rId2" Type="http://schemas.openxmlformats.org/officeDocument/2006/relationships/slideLayout" Target="../slideLayouts/slideLayout170.xml"/><Relationship Id="rId29" Type="http://schemas.openxmlformats.org/officeDocument/2006/relationships/slideLayout" Target="../slideLayouts/slideLayout197.xml"/><Relationship Id="rId24" Type="http://schemas.openxmlformats.org/officeDocument/2006/relationships/slideLayout" Target="../slideLayouts/slideLayout192.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66" Type="http://schemas.openxmlformats.org/officeDocument/2006/relationships/slideLayout" Target="../slideLayouts/slideLayout234.xml"/><Relationship Id="rId87" Type="http://schemas.openxmlformats.org/officeDocument/2006/relationships/slideLayout" Target="../slideLayouts/slideLayout255.xml"/><Relationship Id="rId110" Type="http://schemas.openxmlformats.org/officeDocument/2006/relationships/slideLayout" Target="../slideLayouts/slideLayout278.xml"/><Relationship Id="rId115" Type="http://schemas.openxmlformats.org/officeDocument/2006/relationships/slideLayout" Target="../slideLayouts/slideLayout283.xml"/><Relationship Id="rId131" Type="http://schemas.openxmlformats.org/officeDocument/2006/relationships/slideLayout" Target="../slideLayouts/slideLayout299.xml"/><Relationship Id="rId136" Type="http://schemas.openxmlformats.org/officeDocument/2006/relationships/slideLayout" Target="../slideLayouts/slideLayout304.xml"/><Relationship Id="rId157" Type="http://schemas.openxmlformats.org/officeDocument/2006/relationships/slideLayout" Target="../slideLayouts/slideLayout325.xml"/><Relationship Id="rId61" Type="http://schemas.openxmlformats.org/officeDocument/2006/relationships/slideLayout" Target="../slideLayouts/slideLayout229.xml"/><Relationship Id="rId82" Type="http://schemas.openxmlformats.org/officeDocument/2006/relationships/slideLayout" Target="../slideLayouts/slideLayout250.xml"/><Relationship Id="rId152" Type="http://schemas.openxmlformats.org/officeDocument/2006/relationships/slideLayout" Target="../slideLayouts/slideLayout320.xml"/><Relationship Id="rId19" Type="http://schemas.openxmlformats.org/officeDocument/2006/relationships/slideLayout" Target="../slideLayouts/slideLayout187.xml"/><Relationship Id="rId14" Type="http://schemas.openxmlformats.org/officeDocument/2006/relationships/slideLayout" Target="../slideLayouts/slideLayout182.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56" Type="http://schemas.openxmlformats.org/officeDocument/2006/relationships/slideLayout" Target="../slideLayouts/slideLayout224.xml"/><Relationship Id="rId77" Type="http://schemas.openxmlformats.org/officeDocument/2006/relationships/slideLayout" Target="../slideLayouts/slideLayout245.xml"/><Relationship Id="rId100" Type="http://schemas.openxmlformats.org/officeDocument/2006/relationships/slideLayout" Target="../slideLayouts/slideLayout268.xml"/><Relationship Id="rId105" Type="http://schemas.openxmlformats.org/officeDocument/2006/relationships/slideLayout" Target="../slideLayouts/slideLayout273.xml"/><Relationship Id="rId126" Type="http://schemas.openxmlformats.org/officeDocument/2006/relationships/slideLayout" Target="../slideLayouts/slideLayout294.xml"/><Relationship Id="rId147" Type="http://schemas.openxmlformats.org/officeDocument/2006/relationships/slideLayout" Target="../slideLayouts/slideLayout315.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72" Type="http://schemas.openxmlformats.org/officeDocument/2006/relationships/slideLayout" Target="../slideLayouts/slideLayout240.xml"/><Relationship Id="rId93" Type="http://schemas.openxmlformats.org/officeDocument/2006/relationships/slideLayout" Target="../slideLayouts/slideLayout261.xml"/><Relationship Id="rId98" Type="http://schemas.openxmlformats.org/officeDocument/2006/relationships/slideLayout" Target="../slideLayouts/slideLayout266.xml"/><Relationship Id="rId121" Type="http://schemas.openxmlformats.org/officeDocument/2006/relationships/slideLayout" Target="../slideLayouts/slideLayout289.xml"/><Relationship Id="rId142" Type="http://schemas.openxmlformats.org/officeDocument/2006/relationships/slideLayout" Target="../slideLayouts/slideLayout310.xml"/><Relationship Id="rId163" Type="http://schemas.openxmlformats.org/officeDocument/2006/relationships/image" Target="../media/image2.jpeg"/><Relationship Id="rId3" Type="http://schemas.openxmlformats.org/officeDocument/2006/relationships/slideLayout" Target="../slideLayouts/slideLayout171.xml"/><Relationship Id="rId25" Type="http://schemas.openxmlformats.org/officeDocument/2006/relationships/slideLayout" Target="../slideLayouts/slideLayout193.xml"/><Relationship Id="rId46" Type="http://schemas.openxmlformats.org/officeDocument/2006/relationships/slideLayout" Target="../slideLayouts/slideLayout214.xml"/><Relationship Id="rId67" Type="http://schemas.openxmlformats.org/officeDocument/2006/relationships/slideLayout" Target="../slideLayouts/slideLayout235.xml"/><Relationship Id="rId116" Type="http://schemas.openxmlformats.org/officeDocument/2006/relationships/slideLayout" Target="../slideLayouts/slideLayout284.xml"/><Relationship Id="rId137" Type="http://schemas.openxmlformats.org/officeDocument/2006/relationships/slideLayout" Target="../slideLayouts/slideLayout305.xml"/><Relationship Id="rId158" Type="http://schemas.openxmlformats.org/officeDocument/2006/relationships/theme" Target="../theme/theme3.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62" Type="http://schemas.openxmlformats.org/officeDocument/2006/relationships/slideLayout" Target="../slideLayouts/slideLayout230.xml"/><Relationship Id="rId83" Type="http://schemas.openxmlformats.org/officeDocument/2006/relationships/slideLayout" Target="../slideLayouts/slideLayout251.xml"/><Relationship Id="rId88" Type="http://schemas.openxmlformats.org/officeDocument/2006/relationships/slideLayout" Target="../slideLayouts/slideLayout256.xml"/><Relationship Id="rId111" Type="http://schemas.openxmlformats.org/officeDocument/2006/relationships/slideLayout" Target="../slideLayouts/slideLayout279.xml"/><Relationship Id="rId132" Type="http://schemas.openxmlformats.org/officeDocument/2006/relationships/slideLayout" Target="../slideLayouts/slideLayout300.xml"/><Relationship Id="rId153" Type="http://schemas.openxmlformats.org/officeDocument/2006/relationships/slideLayout" Target="../slideLayouts/slideLayout3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28.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5" Type="http://schemas.openxmlformats.org/officeDocument/2006/relationships/theme" Target="../theme/theme4.xml"/><Relationship Id="rId4" Type="http://schemas.openxmlformats.org/officeDocument/2006/relationships/slideLayout" Target="../slideLayouts/slideLayout3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7/16/201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60"/>
            </p:custDataLst>
            <p:extLst>
              <p:ext uri="{D42A27DB-BD31-4B8C-83A1-F6EECF244321}">
                <p14:modId xmlns:p14="http://schemas.microsoft.com/office/powerpoint/2010/main" val="20406832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41" name="think-cell Slide" r:id="rId161" imgW="0" imgH="0" progId="TCLayout.ActiveDocument.1">
                  <p:embed/>
                </p:oleObj>
              </mc:Choice>
              <mc:Fallback>
                <p:oleObj name="think-cell Slide" r:id="rId161" imgW="0" imgH="0" progId="TCLayout.ActiveDocument.1">
                  <p:embed/>
                  <p:pic>
                    <p:nvPicPr>
                      <p:cNvPr id="0" name="Picture 14" descr="rId1"/>
                      <p:cNvPicPr>
                        <a:picLocks noChangeAspect="1" noChangeArrowheads="1"/>
                      </p:cNvPicPr>
                      <p:nvPr/>
                    </p:nvPicPr>
                    <p:blipFill>
                      <a:blip r:embed="rId162">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Tree>
    <p:extLst>
      <p:ext uri="{BB962C8B-B14F-4D97-AF65-F5344CB8AC3E}">
        <p14:creationId xmlns:p14="http://schemas.microsoft.com/office/powerpoint/2010/main" val="993407854"/>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63" r:id="rId103"/>
    <p:sldLayoutId id="2147483764" r:id="rId104"/>
    <p:sldLayoutId id="2147483765" r:id="rId105"/>
    <p:sldLayoutId id="2147483766" r:id="rId106"/>
    <p:sldLayoutId id="2147483767" r:id="rId107"/>
    <p:sldLayoutId id="2147483768" r:id="rId108"/>
    <p:sldLayoutId id="2147483769" r:id="rId109"/>
    <p:sldLayoutId id="2147483770" r:id="rId110"/>
    <p:sldLayoutId id="2147483771" r:id="rId111"/>
    <p:sldLayoutId id="2147483772" r:id="rId112"/>
    <p:sldLayoutId id="2147483773" r:id="rId113"/>
    <p:sldLayoutId id="2147483774" r:id="rId114"/>
    <p:sldLayoutId id="2147483775" r:id="rId115"/>
    <p:sldLayoutId id="2147483776" r:id="rId116"/>
    <p:sldLayoutId id="2147483777" r:id="rId117"/>
    <p:sldLayoutId id="2147483778" r:id="rId118"/>
    <p:sldLayoutId id="2147483779" r:id="rId119"/>
    <p:sldLayoutId id="2147483780" r:id="rId120"/>
    <p:sldLayoutId id="2147483781" r:id="rId121"/>
    <p:sldLayoutId id="2147483782" r:id="rId122"/>
    <p:sldLayoutId id="2147483783" r:id="rId123"/>
    <p:sldLayoutId id="2147483784" r:id="rId124"/>
    <p:sldLayoutId id="2147483785" r:id="rId125"/>
    <p:sldLayoutId id="2147483786" r:id="rId126"/>
    <p:sldLayoutId id="2147483787" r:id="rId127"/>
    <p:sldLayoutId id="2147483788" r:id="rId128"/>
    <p:sldLayoutId id="2147483789" r:id="rId129"/>
    <p:sldLayoutId id="2147483790" r:id="rId130"/>
    <p:sldLayoutId id="2147483791" r:id="rId131"/>
    <p:sldLayoutId id="2147483792" r:id="rId132"/>
    <p:sldLayoutId id="2147483793" r:id="rId133"/>
    <p:sldLayoutId id="2147483794" r:id="rId134"/>
    <p:sldLayoutId id="2147483795" r:id="rId135"/>
    <p:sldLayoutId id="2147483796" r:id="rId136"/>
    <p:sldLayoutId id="2147483797" r:id="rId137"/>
    <p:sldLayoutId id="2147483798" r:id="rId138"/>
    <p:sldLayoutId id="2147483799" r:id="rId139"/>
    <p:sldLayoutId id="2147483800" r:id="rId140"/>
    <p:sldLayoutId id="2147483801" r:id="rId141"/>
    <p:sldLayoutId id="2147483802" r:id="rId142"/>
    <p:sldLayoutId id="2147483803" r:id="rId143"/>
    <p:sldLayoutId id="2147483804" r:id="rId144"/>
    <p:sldLayoutId id="2147483805" r:id="rId145"/>
    <p:sldLayoutId id="2147483806" r:id="rId146"/>
    <p:sldLayoutId id="2147483807" r:id="rId147"/>
    <p:sldLayoutId id="2147483808" r:id="rId148"/>
    <p:sldLayoutId id="2147483809" r:id="rId149"/>
    <p:sldLayoutId id="2147483810" r:id="rId150"/>
    <p:sldLayoutId id="2147483811" r:id="rId151"/>
    <p:sldLayoutId id="2147483812" r:id="rId152"/>
    <p:sldLayoutId id="2147483813" r:id="rId153"/>
    <p:sldLayoutId id="2147483814" r:id="rId154"/>
    <p:sldLayoutId id="2147483815" r:id="rId155"/>
    <p:sldLayoutId id="2147483816" r:id="rId156"/>
    <p:sldLayoutId id="2147483817" r:id="rId157"/>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60"/>
            </p:custDataLst>
            <p:extLst>
              <p:ext uri="{D42A27DB-BD31-4B8C-83A1-F6EECF244321}">
                <p14:modId xmlns:p14="http://schemas.microsoft.com/office/powerpoint/2010/main" val="169860888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2050" name="think-cell Slide" r:id="rId161" imgW="0" imgH="0" progId="TCLayout.ActiveDocument.1">
                  <p:embed/>
                </p:oleObj>
              </mc:Choice>
              <mc:Fallback>
                <p:oleObj name="think-cell Slide" r:id="rId161" imgW="0" imgH="0" progId="TCLayout.ActiveDocument.1">
                  <p:embed/>
                  <p:pic>
                    <p:nvPicPr>
                      <p:cNvPr id="0" name="Picture 1" descr="rId1"/>
                      <p:cNvPicPr>
                        <a:picLocks noChangeAspect="1" noChangeArrowheads="1"/>
                      </p:cNvPicPr>
                      <p:nvPr/>
                    </p:nvPicPr>
                    <p:blipFill>
                      <a:blip r:embed="rId162">
                        <a:extLst>
                          <a:ext uri="{28A0092B-C50C-407E-A947-70E740481C1C}">
                            <a14:useLocalDpi xmlns:a14="http://schemas.microsoft.com/office/drawing/2010/main" val="0"/>
                          </a:ext>
                        </a:extLst>
                      </a:blip>
                      <a:srcRect/>
                      <a:stretch>
                        <a:fillRect/>
                      </a:stretch>
                    </p:blipFill>
                    <p:spPr bwMode="auto">
                      <a:xfrm>
                        <a:off x="1476" y="1592"/>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endParaRPr lang="en-US" noProof="1">
              <a:solidFill>
                <a:srgbClr val="716D6D"/>
              </a:solidFill>
              <a:sym typeface="+mn-lt"/>
            </a:endParaRPr>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Tree>
    <p:extLst>
      <p:ext uri="{BB962C8B-B14F-4D97-AF65-F5344CB8AC3E}">
        <p14:creationId xmlns:p14="http://schemas.microsoft.com/office/powerpoint/2010/main" val="211800712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 id="2147483872" r:id="rId54"/>
    <p:sldLayoutId id="2147483873" r:id="rId55"/>
    <p:sldLayoutId id="2147483874" r:id="rId56"/>
    <p:sldLayoutId id="2147483875" r:id="rId57"/>
    <p:sldLayoutId id="2147483876" r:id="rId58"/>
    <p:sldLayoutId id="2147483877" r:id="rId59"/>
    <p:sldLayoutId id="2147483878" r:id="rId60"/>
    <p:sldLayoutId id="2147483879" r:id="rId61"/>
    <p:sldLayoutId id="2147483880" r:id="rId62"/>
    <p:sldLayoutId id="2147483881" r:id="rId63"/>
    <p:sldLayoutId id="2147483882" r:id="rId64"/>
    <p:sldLayoutId id="2147483883" r:id="rId65"/>
    <p:sldLayoutId id="2147483884" r:id="rId66"/>
    <p:sldLayoutId id="2147483885" r:id="rId67"/>
    <p:sldLayoutId id="2147483886" r:id="rId68"/>
    <p:sldLayoutId id="2147483887" r:id="rId69"/>
    <p:sldLayoutId id="2147483888" r:id="rId70"/>
    <p:sldLayoutId id="2147483889" r:id="rId71"/>
    <p:sldLayoutId id="2147483890" r:id="rId72"/>
    <p:sldLayoutId id="2147483891" r:id="rId73"/>
    <p:sldLayoutId id="2147483892" r:id="rId74"/>
    <p:sldLayoutId id="2147483893" r:id="rId75"/>
    <p:sldLayoutId id="2147483894" r:id="rId76"/>
    <p:sldLayoutId id="2147483895" r:id="rId77"/>
    <p:sldLayoutId id="2147483896" r:id="rId78"/>
    <p:sldLayoutId id="2147483897" r:id="rId79"/>
    <p:sldLayoutId id="2147483898" r:id="rId80"/>
    <p:sldLayoutId id="2147483899" r:id="rId81"/>
    <p:sldLayoutId id="2147483900" r:id="rId82"/>
    <p:sldLayoutId id="2147483901" r:id="rId83"/>
    <p:sldLayoutId id="2147483902" r:id="rId84"/>
    <p:sldLayoutId id="2147483903" r:id="rId85"/>
    <p:sldLayoutId id="2147483904" r:id="rId86"/>
    <p:sldLayoutId id="2147483905" r:id="rId87"/>
    <p:sldLayoutId id="2147483906" r:id="rId88"/>
    <p:sldLayoutId id="2147483907" r:id="rId89"/>
    <p:sldLayoutId id="2147483908" r:id="rId90"/>
    <p:sldLayoutId id="2147483909" r:id="rId91"/>
    <p:sldLayoutId id="2147483910" r:id="rId92"/>
    <p:sldLayoutId id="2147483911" r:id="rId93"/>
    <p:sldLayoutId id="2147483912" r:id="rId94"/>
    <p:sldLayoutId id="2147483913" r:id="rId95"/>
    <p:sldLayoutId id="2147483914" r:id="rId96"/>
    <p:sldLayoutId id="2147483915" r:id="rId97"/>
    <p:sldLayoutId id="2147483916" r:id="rId98"/>
    <p:sldLayoutId id="2147483917" r:id="rId99"/>
    <p:sldLayoutId id="2147483918" r:id="rId100"/>
    <p:sldLayoutId id="2147483919" r:id="rId101"/>
    <p:sldLayoutId id="2147483920" r:id="rId102"/>
    <p:sldLayoutId id="2147483921" r:id="rId103"/>
    <p:sldLayoutId id="2147483922" r:id="rId104"/>
    <p:sldLayoutId id="2147483923" r:id="rId105"/>
    <p:sldLayoutId id="2147483924" r:id="rId106"/>
    <p:sldLayoutId id="2147483925" r:id="rId107"/>
    <p:sldLayoutId id="2147483926" r:id="rId108"/>
    <p:sldLayoutId id="2147483927" r:id="rId109"/>
    <p:sldLayoutId id="2147483928" r:id="rId110"/>
    <p:sldLayoutId id="2147483929" r:id="rId111"/>
    <p:sldLayoutId id="2147483930" r:id="rId112"/>
    <p:sldLayoutId id="2147483931" r:id="rId113"/>
    <p:sldLayoutId id="2147483932" r:id="rId114"/>
    <p:sldLayoutId id="2147483933" r:id="rId115"/>
    <p:sldLayoutId id="2147483934" r:id="rId116"/>
    <p:sldLayoutId id="2147483935" r:id="rId117"/>
    <p:sldLayoutId id="2147483936" r:id="rId118"/>
    <p:sldLayoutId id="2147483937" r:id="rId119"/>
    <p:sldLayoutId id="2147483938" r:id="rId120"/>
    <p:sldLayoutId id="2147483939" r:id="rId121"/>
    <p:sldLayoutId id="2147483940" r:id="rId122"/>
    <p:sldLayoutId id="2147483941" r:id="rId123"/>
    <p:sldLayoutId id="2147483942" r:id="rId124"/>
    <p:sldLayoutId id="2147483943" r:id="rId125"/>
    <p:sldLayoutId id="2147483944" r:id="rId126"/>
    <p:sldLayoutId id="2147483945" r:id="rId127"/>
    <p:sldLayoutId id="2147483946" r:id="rId128"/>
    <p:sldLayoutId id="2147483947" r:id="rId129"/>
    <p:sldLayoutId id="2147483948" r:id="rId130"/>
    <p:sldLayoutId id="2147483949" r:id="rId131"/>
    <p:sldLayoutId id="2147483950" r:id="rId132"/>
    <p:sldLayoutId id="2147483951" r:id="rId133"/>
    <p:sldLayoutId id="2147483952" r:id="rId134"/>
    <p:sldLayoutId id="2147483953" r:id="rId135"/>
    <p:sldLayoutId id="2147483954" r:id="rId136"/>
    <p:sldLayoutId id="2147483955" r:id="rId137"/>
    <p:sldLayoutId id="2147483956" r:id="rId138"/>
    <p:sldLayoutId id="2147483957" r:id="rId139"/>
    <p:sldLayoutId id="2147483958" r:id="rId140"/>
    <p:sldLayoutId id="2147483959" r:id="rId141"/>
    <p:sldLayoutId id="2147483960" r:id="rId142"/>
    <p:sldLayoutId id="2147483961" r:id="rId143"/>
    <p:sldLayoutId id="2147483962" r:id="rId144"/>
    <p:sldLayoutId id="2147483963" r:id="rId145"/>
    <p:sldLayoutId id="2147483964" r:id="rId146"/>
    <p:sldLayoutId id="2147483965" r:id="rId147"/>
    <p:sldLayoutId id="2147483966" r:id="rId148"/>
    <p:sldLayoutId id="2147483967" r:id="rId149"/>
    <p:sldLayoutId id="2147483968" r:id="rId150"/>
    <p:sldLayoutId id="2147483969" r:id="rId151"/>
    <p:sldLayoutId id="2147483970" r:id="rId152"/>
    <p:sldLayoutId id="2147483971" r:id="rId153"/>
    <p:sldLayoutId id="2147483972" r:id="rId154"/>
    <p:sldLayoutId id="2147483973" r:id="rId155"/>
    <p:sldLayoutId id="2147483974" r:id="rId156"/>
    <p:sldLayoutId id="2147483975" r:id="rId157"/>
  </p:sldLayoutIdLst>
  <p:transition/>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5923852"/>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Lst>
  <p:transition/>
  <p:txStyles>
    <p:titleStyle>
      <a:lvl1pPr algn="ctr" defTabSz="914229" rtl="0" eaLnBrk="1" latinLnBrk="1" hangingPunct="1">
        <a:spcBef>
          <a:spcPct val="0"/>
        </a:spcBef>
        <a:buNone/>
        <a:defRPr sz="4400" kern="1200">
          <a:solidFill>
            <a:schemeClr val="tx1"/>
          </a:solidFill>
          <a:latin typeface="+mj-lt"/>
          <a:ea typeface="+mj-ea"/>
          <a:cs typeface="+mj-cs"/>
        </a:defRPr>
      </a:lvl1pPr>
    </p:titleStyle>
    <p:bodyStyle>
      <a:lvl1pPr marL="342836" indent="-342836" algn="l" defTabSz="914229"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811" indent="-285697" algn="l" defTabSz="914229"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2786" indent="-228556" algn="l" defTabSz="914229" rtl="0" eaLnBrk="1" latinLnBrk="1" hangingPunct="1">
        <a:spcBef>
          <a:spcPct val="20000"/>
        </a:spcBef>
        <a:buFont typeface="Arial" pitchFamily="34" charset="0"/>
        <a:buChar char="•"/>
        <a:defRPr sz="2500" kern="1200">
          <a:solidFill>
            <a:schemeClr val="tx1"/>
          </a:solidFill>
          <a:latin typeface="+mn-lt"/>
          <a:ea typeface="+mn-ea"/>
          <a:cs typeface="+mn-cs"/>
        </a:defRPr>
      </a:lvl3pPr>
      <a:lvl4pPr marL="1599901"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016"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129"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244"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8357"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5473"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229" rtl="0" eaLnBrk="1" latinLnBrk="1" hangingPunct="1">
        <a:defRPr sz="1800" kern="1200">
          <a:solidFill>
            <a:schemeClr val="tx1"/>
          </a:solidFill>
          <a:latin typeface="+mn-lt"/>
          <a:ea typeface="+mn-ea"/>
          <a:cs typeface="+mn-cs"/>
        </a:defRPr>
      </a:lvl1pPr>
      <a:lvl2pPr marL="457115" algn="l" defTabSz="914229" rtl="0" eaLnBrk="1" latinLnBrk="1" hangingPunct="1">
        <a:defRPr sz="1800" kern="1200">
          <a:solidFill>
            <a:schemeClr val="tx1"/>
          </a:solidFill>
          <a:latin typeface="+mn-lt"/>
          <a:ea typeface="+mn-ea"/>
          <a:cs typeface="+mn-cs"/>
        </a:defRPr>
      </a:lvl2pPr>
      <a:lvl3pPr marL="914229" algn="l" defTabSz="914229" rtl="0" eaLnBrk="1" latinLnBrk="1" hangingPunct="1">
        <a:defRPr sz="1800" kern="1200">
          <a:solidFill>
            <a:schemeClr val="tx1"/>
          </a:solidFill>
          <a:latin typeface="+mn-lt"/>
          <a:ea typeface="+mn-ea"/>
          <a:cs typeface="+mn-cs"/>
        </a:defRPr>
      </a:lvl3pPr>
      <a:lvl4pPr marL="1371343" algn="l" defTabSz="914229" rtl="0" eaLnBrk="1" latinLnBrk="1" hangingPunct="1">
        <a:defRPr sz="1800" kern="1200">
          <a:solidFill>
            <a:schemeClr val="tx1"/>
          </a:solidFill>
          <a:latin typeface="+mn-lt"/>
          <a:ea typeface="+mn-ea"/>
          <a:cs typeface="+mn-cs"/>
        </a:defRPr>
      </a:lvl4pPr>
      <a:lvl5pPr marL="1828457" algn="l" defTabSz="914229" rtl="0" eaLnBrk="1" latinLnBrk="1" hangingPunct="1">
        <a:defRPr sz="1800" kern="1200">
          <a:solidFill>
            <a:schemeClr val="tx1"/>
          </a:solidFill>
          <a:latin typeface="+mn-lt"/>
          <a:ea typeface="+mn-ea"/>
          <a:cs typeface="+mn-cs"/>
        </a:defRPr>
      </a:lvl5pPr>
      <a:lvl6pPr marL="2285571" algn="l" defTabSz="914229" rtl="0" eaLnBrk="1" latinLnBrk="1" hangingPunct="1">
        <a:defRPr sz="1800" kern="1200">
          <a:solidFill>
            <a:schemeClr val="tx1"/>
          </a:solidFill>
          <a:latin typeface="+mn-lt"/>
          <a:ea typeface="+mn-ea"/>
          <a:cs typeface="+mn-cs"/>
        </a:defRPr>
      </a:lvl6pPr>
      <a:lvl7pPr marL="2742686" algn="l" defTabSz="914229" rtl="0" eaLnBrk="1" latinLnBrk="1" hangingPunct="1">
        <a:defRPr sz="1800" kern="1200">
          <a:solidFill>
            <a:schemeClr val="tx1"/>
          </a:solidFill>
          <a:latin typeface="+mn-lt"/>
          <a:ea typeface="+mn-ea"/>
          <a:cs typeface="+mn-cs"/>
        </a:defRPr>
      </a:lvl7pPr>
      <a:lvl8pPr marL="3199801" algn="l" defTabSz="914229" rtl="0" eaLnBrk="1" latinLnBrk="1" hangingPunct="1">
        <a:defRPr sz="1800" kern="1200">
          <a:solidFill>
            <a:schemeClr val="tx1"/>
          </a:solidFill>
          <a:latin typeface="+mn-lt"/>
          <a:ea typeface="+mn-ea"/>
          <a:cs typeface="+mn-cs"/>
        </a:defRPr>
      </a:lvl8pPr>
      <a:lvl9pPr marL="3656914" algn="l" defTabSz="914229"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29.xml"/><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ctrTitle"/>
          </p:nvPr>
        </p:nvSpPr>
        <p:spPr>
          <a:xfrm>
            <a:off x="268862" y="1844707"/>
            <a:ext cx="8604956" cy="455509"/>
          </a:xfrm>
        </p:spPr>
        <p:txBody>
          <a:bodyPr/>
          <a:lstStyle/>
          <a:p>
            <a:pPr algn="ctr"/>
            <a:r>
              <a:rPr lang="en-US" altLang="ko-KR" sz="3100" spc="-30" smtClean="0"/>
              <a:t>3. </a:t>
            </a:r>
            <a:r>
              <a:rPr lang="ko-KR" altLang="en-US" sz="3100" spc="-30" smtClean="0"/>
              <a:t>관광</a:t>
            </a:r>
            <a:r>
              <a:rPr lang="en-US" altLang="ko-KR" sz="3100" spc="-30" smtClean="0"/>
              <a:t>/</a:t>
            </a:r>
            <a:r>
              <a:rPr lang="ko-KR" altLang="en-US" sz="3100" spc="-30" smtClean="0"/>
              <a:t>쇼핑 코스 등에 대한 분석을 통한 정책 제언</a:t>
            </a:r>
            <a:endParaRPr lang="ko-KR" altLang="en-US" sz="3100">
              <a:latin typeface="NOVA Bold" panose="00000800000000000000" pitchFamily="2" charset="-127"/>
              <a:ea typeface="NOVA Bold" panose="00000800000000000000" pitchFamily="2" charset="-127"/>
            </a:endParaRPr>
          </a:p>
        </p:txBody>
      </p:sp>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a:t>
            </a:r>
          </a:p>
          <a:p>
            <a:pPr>
              <a:lnSpc>
                <a:spcPct val="130000"/>
              </a:lnSpc>
            </a:pPr>
            <a:r>
              <a:rPr lang="ko-KR" altLang="en-US" sz="1600" smtClean="0"/>
              <a:t>비씨카드 빅데이터센터  </a:t>
            </a:r>
            <a:endParaRPr lang="en-US" altLang="ko-KR" sz="1600" smtClean="0"/>
          </a:p>
        </p:txBody>
      </p:sp>
      <p:sp>
        <p:nvSpPr>
          <p:cNvPr id="8" name="Rectangle 10"/>
          <p:cNvSpPr>
            <a:spLocks noChangeArrowheads="1"/>
          </p:cNvSpPr>
          <p:nvPr/>
        </p:nvSpPr>
        <p:spPr bwMode="auto">
          <a:xfrm>
            <a:off x="7416316" y="951335"/>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srgbClr val="FF0000"/>
                </a:solidFill>
                <a:latin typeface="NOVA Bold" panose="00000800000000000000" pitchFamily="2" charset="-127"/>
                <a:ea typeface="NOVA Bold" panose="00000800000000000000" pitchFamily="2" charset="-127"/>
                <a:cs typeface="Arial" pitchFamily="34" charset="0"/>
              </a:rPr>
              <a:t>대외 배포용</a:t>
            </a:r>
            <a:endParaRPr lang="ko-KR" altLang="en-US" sz="1400" kern="0">
              <a:solidFill>
                <a:srgbClr val="FF0000"/>
              </a:solidFill>
              <a:latin typeface="NOVA Bold" panose="00000800000000000000" pitchFamily="2" charset="-127"/>
              <a:ea typeface="NOVA Bold" panose="00000800000000000000" pitchFamily="2" charset="-127"/>
              <a:cs typeface="Arial" pitchFamily="34" charset="0"/>
            </a:endParaRPr>
          </a:p>
        </p:txBody>
      </p:sp>
      <p:sp>
        <p:nvSpPr>
          <p:cNvPr id="6" name="TextBox 5"/>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pic>
        <p:nvPicPr>
          <p:cNvPr id="7" name="그림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2280" y="5877272"/>
            <a:ext cx="1800000" cy="479508"/>
          </a:xfrm>
          <a:prstGeom prst="rect">
            <a:avLst/>
          </a:prstGeom>
        </p:spPr>
      </p:pic>
    </p:spTree>
    <p:extLst>
      <p:ext uri="{BB962C8B-B14F-4D97-AF65-F5344CB8AC3E}">
        <p14:creationId xmlns:p14="http://schemas.microsoft.com/office/powerpoint/2010/main" val="1660053477"/>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 name="자유형 220"/>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6" name="자유형 125"/>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a:t>
            </a:r>
            <a:r>
              <a:rPr lang="en-US" altLang="ko-KR" smtClean="0"/>
              <a:t>1</a:t>
            </a:r>
            <a:r>
              <a:rPr lang="ko-KR" altLang="en-US" smtClean="0"/>
              <a:t>박 </a:t>
            </a:r>
            <a:r>
              <a:rPr lang="en-US" altLang="ko-KR" smtClean="0"/>
              <a:t>2</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관광은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일차에 주로 이루어지며</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섭지코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테디베어박물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두암과 성읍민속마을이 주요 방문지에 포함됨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3" name="자유형 212"/>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8" name="자유형 217"/>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30" name="TextBox 229"/>
          <p:cNvSpPr txBox="1"/>
          <p:nvPr/>
        </p:nvSpPr>
        <p:spPr>
          <a:xfrm>
            <a:off x="868308" y="426167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2" name="TextBox 231"/>
          <p:cNvSpPr txBox="1"/>
          <p:nvPr/>
        </p:nvSpPr>
        <p:spPr>
          <a:xfrm>
            <a:off x="1591088" y="47542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33" name="TextBox 232"/>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2018818" y="388597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623191" y="3616529"/>
            <a:ext cx="904693"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36" name="TextBox 235"/>
          <p:cNvSpPr txBox="1"/>
          <p:nvPr/>
        </p:nvSpPr>
        <p:spPr>
          <a:xfrm>
            <a:off x="3421253" y="308319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53413" y="476009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401194" y="4708252"/>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43" name="타원 242"/>
          <p:cNvSpPr/>
          <p:nvPr/>
        </p:nvSpPr>
        <p:spPr>
          <a:xfrm>
            <a:off x="3922447"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4" name="직사각형 243"/>
          <p:cNvSpPr/>
          <p:nvPr/>
        </p:nvSpPr>
        <p:spPr>
          <a:xfrm>
            <a:off x="5011882"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5" name="TextBox 244"/>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46" name="TextBox 245"/>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987246874"/>
              </p:ext>
            </p:extLst>
          </p:nvPr>
        </p:nvGraphicFramePr>
        <p:xfrm>
          <a:off x="6516216" y="2280012"/>
          <a:ext cx="2268252" cy="3921296"/>
        </p:xfrm>
        <a:graphic>
          <a:graphicData uri="http://schemas.openxmlformats.org/drawingml/2006/chart">
            <c:chart xmlns:c="http://schemas.openxmlformats.org/drawingml/2006/chart" xmlns:r="http://schemas.openxmlformats.org/officeDocument/2006/relationships" r:id="rId3"/>
          </a:graphicData>
        </a:graphic>
      </p:graphicFrame>
      <p:sp>
        <p:nvSpPr>
          <p:cNvPr id="66" name="TextBox 65"/>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6</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 </a:t>
            </a:r>
            <a:r>
              <a:rPr lang="ko-KR" altLang="en-US" sz="900">
                <a:solidFill>
                  <a:srgbClr val="000000"/>
                </a:solidFill>
              </a:rPr>
              <a:t>특정 장소가 지정되지 않은 한라산 관광</a:t>
            </a:r>
            <a:r>
              <a:rPr lang="en-US" altLang="ko-KR" sz="900">
                <a:solidFill>
                  <a:srgbClr val="000000"/>
                </a:solidFill>
              </a:rPr>
              <a:t>, </a:t>
            </a:r>
            <a:r>
              <a:rPr lang="ko-KR" altLang="en-US" sz="900">
                <a:solidFill>
                  <a:srgbClr val="000000"/>
                </a:solidFill>
              </a:rPr>
              <a:t>공연</a:t>
            </a:r>
            <a:r>
              <a:rPr lang="en-US" altLang="ko-KR" sz="900">
                <a:solidFill>
                  <a:srgbClr val="000000"/>
                </a:solidFill>
              </a:rPr>
              <a:t>, </a:t>
            </a:r>
            <a:r>
              <a:rPr lang="ko-KR" altLang="en-US" sz="900">
                <a:solidFill>
                  <a:srgbClr val="000000"/>
                </a:solidFill>
              </a:rPr>
              <a:t>한증막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 </a:t>
            </a:r>
            <a:r>
              <a:rPr lang="ko-KR" altLang="en-US" sz="900">
                <a:solidFill>
                  <a:srgbClr val="000000"/>
                </a:solidFill>
              </a:rPr>
              <a:t>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sp>
        <p:nvSpPr>
          <p:cNvPr id="68" name="타원 67"/>
          <p:cNvSpPr/>
          <p:nvPr/>
        </p:nvSpPr>
        <p:spPr>
          <a:xfrm>
            <a:off x="3090671" y="383197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69" name="TextBox 68"/>
          <p:cNvSpPr txBox="1"/>
          <p:nvPr/>
        </p:nvSpPr>
        <p:spPr>
          <a:xfrm>
            <a:off x="2701114" y="398274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0" name="TextBox 69"/>
          <p:cNvSpPr txBox="1"/>
          <p:nvPr/>
        </p:nvSpPr>
        <p:spPr>
          <a:xfrm>
            <a:off x="2339972" y="291835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1" name="타원 70"/>
          <p:cNvSpPr/>
          <p:nvPr/>
        </p:nvSpPr>
        <p:spPr>
          <a:xfrm>
            <a:off x="2762835" y="311392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3" name="직사각형 72"/>
          <p:cNvSpPr/>
          <p:nvPr/>
        </p:nvSpPr>
        <p:spPr>
          <a:xfrm>
            <a:off x="1043620" y="447311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4" name="TextBox 73"/>
          <p:cNvSpPr txBox="1"/>
          <p:nvPr/>
        </p:nvSpPr>
        <p:spPr>
          <a:xfrm>
            <a:off x="980797" y="4491046"/>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미라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트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3" name="직사각형 82"/>
          <p:cNvSpPr/>
          <p:nvPr/>
        </p:nvSpPr>
        <p:spPr>
          <a:xfrm>
            <a:off x="2872808" y="32483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4" name="TextBox 83"/>
          <p:cNvSpPr txBox="1"/>
          <p:nvPr/>
        </p:nvSpPr>
        <p:spPr>
          <a:xfrm>
            <a:off x="3025089" y="323055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동문시장</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5" name="직사각형 84"/>
          <p:cNvSpPr/>
          <p:nvPr/>
        </p:nvSpPr>
        <p:spPr>
          <a:xfrm>
            <a:off x="2672765" y="324898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6" name="TextBox 85"/>
          <p:cNvSpPr txBox="1"/>
          <p:nvPr/>
        </p:nvSpPr>
        <p:spPr>
          <a:xfrm>
            <a:off x="1855788" y="321663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7" name="직사각형 86"/>
          <p:cNvSpPr/>
          <p:nvPr/>
        </p:nvSpPr>
        <p:spPr>
          <a:xfrm>
            <a:off x="5460752" y="39590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8" name="TextBox 87"/>
          <p:cNvSpPr txBox="1"/>
          <p:nvPr/>
        </p:nvSpPr>
        <p:spPr>
          <a:xfrm>
            <a:off x="5461579" y="412428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9" name="직사각형 88"/>
          <p:cNvSpPr/>
          <p:nvPr/>
        </p:nvSpPr>
        <p:spPr>
          <a:xfrm>
            <a:off x="4334948" y="458056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0" name="TextBox 89"/>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1" name="직사각형 100"/>
          <p:cNvSpPr/>
          <p:nvPr/>
        </p:nvSpPr>
        <p:spPr>
          <a:xfrm>
            <a:off x="5604187" y="365398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2" name="TextBox 101"/>
          <p:cNvSpPr txBox="1"/>
          <p:nvPr/>
        </p:nvSpPr>
        <p:spPr>
          <a:xfrm>
            <a:off x="5658187" y="373988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3" name="TextBox 102"/>
          <p:cNvSpPr txBox="1"/>
          <p:nvPr/>
        </p:nvSpPr>
        <p:spPr>
          <a:xfrm>
            <a:off x="2078847" y="34498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4" name="직사각형 103"/>
          <p:cNvSpPr/>
          <p:nvPr/>
        </p:nvSpPr>
        <p:spPr>
          <a:xfrm>
            <a:off x="2829690" y="346625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5" name="TextBox 104"/>
          <p:cNvSpPr txBox="1"/>
          <p:nvPr/>
        </p:nvSpPr>
        <p:spPr>
          <a:xfrm>
            <a:off x="3618939" y="395129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에코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6" name="직사각형 105"/>
          <p:cNvSpPr/>
          <p:nvPr/>
        </p:nvSpPr>
        <p:spPr>
          <a:xfrm>
            <a:off x="3599904" y="392409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7" name="TextBox 106"/>
          <p:cNvSpPr txBox="1"/>
          <p:nvPr/>
        </p:nvSpPr>
        <p:spPr>
          <a:xfrm>
            <a:off x="5858474" y="3358223"/>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우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8" name="직사각형 107"/>
          <p:cNvSpPr/>
          <p:nvPr/>
        </p:nvSpPr>
        <p:spPr>
          <a:xfrm>
            <a:off x="5697089" y="339300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9" name="TextBox 108"/>
          <p:cNvSpPr txBox="1"/>
          <p:nvPr/>
        </p:nvSpPr>
        <p:spPr>
          <a:xfrm>
            <a:off x="3445698" y="336976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캐릭월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0" name="직사각형 109"/>
          <p:cNvSpPr/>
          <p:nvPr/>
        </p:nvSpPr>
        <p:spPr>
          <a:xfrm>
            <a:off x="3707904" y="357301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2" name="TextBox 111"/>
          <p:cNvSpPr txBox="1"/>
          <p:nvPr/>
        </p:nvSpPr>
        <p:spPr>
          <a:xfrm>
            <a:off x="2411760" y="5301208"/>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3" name="직사각형 112"/>
          <p:cNvSpPr/>
          <p:nvPr/>
        </p:nvSpPr>
        <p:spPr>
          <a:xfrm>
            <a:off x="2271012" y="532799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4" name="자유형 113"/>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5" name="자유형 114"/>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7" name="TextBox 116"/>
          <p:cNvSpPr txBox="1"/>
          <p:nvPr/>
        </p:nvSpPr>
        <p:spPr>
          <a:xfrm>
            <a:off x="4215742" y="323938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119" name="자유형 118"/>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2" name="타원 121"/>
          <p:cNvSpPr/>
          <p:nvPr/>
        </p:nvSpPr>
        <p:spPr>
          <a:xfrm>
            <a:off x="6588224" y="5075659"/>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123" name="타원 122"/>
          <p:cNvSpPr/>
          <p:nvPr/>
        </p:nvSpPr>
        <p:spPr>
          <a:xfrm>
            <a:off x="6588224" y="5278453"/>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124" name="타원 123"/>
          <p:cNvSpPr/>
          <p:nvPr/>
        </p:nvSpPr>
        <p:spPr>
          <a:xfrm>
            <a:off x="6588224" y="5481248"/>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78" name="타원 77"/>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15523153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a:t>
            </a:r>
            <a:r>
              <a:rPr lang="en-US" altLang="ko-KR"/>
              <a:t> </a:t>
            </a:r>
            <a:r>
              <a:rPr lang="en-US" altLang="ko-KR" smtClean="0"/>
              <a:t>2</a:t>
            </a:r>
            <a:r>
              <a:rPr lang="ko-KR" altLang="en-US" smtClean="0"/>
              <a:t>박 </a:t>
            </a:r>
            <a:r>
              <a:rPr lang="en-US" altLang="ko-KR" smtClean="0"/>
              <a:t>3</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60">
                <a:ln>
                  <a:solidFill>
                    <a:prstClr val="black">
                      <a:alpha val="20000"/>
                    </a:prstClr>
                  </a:solidFill>
                </a:ln>
                <a:solidFill>
                  <a:srgbClr val="000000"/>
                </a:solidFill>
                <a:latin typeface="NOVA Bold"/>
                <a:ea typeface="NOVA Bold"/>
                <a:cs typeface="Arial" pitchFamily="34" charset="0"/>
              </a:rPr>
              <a:t>1</a:t>
            </a:r>
            <a:r>
              <a:rPr lang="ko-KR" altLang="en-US" sz="1600" spc="60">
                <a:ln>
                  <a:solidFill>
                    <a:prstClr val="black">
                      <a:alpha val="20000"/>
                    </a:prstClr>
                  </a:solidFill>
                </a:ln>
                <a:solidFill>
                  <a:srgbClr val="000000"/>
                </a:solidFill>
                <a:latin typeface="NOVA Bold"/>
                <a:ea typeface="NOVA Bold"/>
                <a:cs typeface="Arial" pitchFamily="34" charset="0"/>
              </a:rPr>
              <a:t>박 </a:t>
            </a:r>
            <a:r>
              <a:rPr lang="en-US" altLang="ko-KR" sz="1600" spc="60">
                <a:ln>
                  <a:solidFill>
                    <a:prstClr val="black">
                      <a:alpha val="20000"/>
                    </a:prstClr>
                  </a:solidFill>
                </a:ln>
                <a:solidFill>
                  <a:srgbClr val="000000"/>
                </a:solidFill>
                <a:latin typeface="NOVA Bold"/>
                <a:ea typeface="NOVA Bold"/>
                <a:cs typeface="Arial" pitchFamily="34" charset="0"/>
              </a:rPr>
              <a:t>2</a:t>
            </a:r>
            <a:r>
              <a:rPr lang="ko-KR" altLang="en-US" sz="1600" spc="60">
                <a:ln>
                  <a:solidFill>
                    <a:prstClr val="black">
                      <a:alpha val="20000"/>
                    </a:prstClr>
                  </a:solidFill>
                </a:ln>
                <a:solidFill>
                  <a:srgbClr val="000000"/>
                </a:solidFill>
                <a:latin typeface="NOVA Bold"/>
                <a:ea typeface="NOVA Bold"/>
                <a:cs typeface="Arial" pitchFamily="34" charset="0"/>
              </a:rPr>
              <a:t>일 코스와 같이 관광은 </a:t>
            </a:r>
            <a:r>
              <a:rPr lang="en-US" altLang="ko-KR" sz="1600" spc="60">
                <a:ln>
                  <a:solidFill>
                    <a:prstClr val="black">
                      <a:alpha val="20000"/>
                    </a:prstClr>
                  </a:solidFill>
                </a:ln>
                <a:solidFill>
                  <a:srgbClr val="000000"/>
                </a:solidFill>
                <a:latin typeface="NOVA Bold"/>
                <a:ea typeface="NOVA Bold"/>
                <a:cs typeface="Arial" pitchFamily="34" charset="0"/>
              </a:rPr>
              <a:t>2</a:t>
            </a:r>
            <a:r>
              <a:rPr lang="ko-KR" altLang="en-US" sz="1600" spc="60">
                <a:ln>
                  <a:solidFill>
                    <a:prstClr val="black">
                      <a:alpha val="20000"/>
                    </a:prstClr>
                  </a:solidFill>
                </a:ln>
                <a:solidFill>
                  <a:srgbClr val="000000"/>
                </a:solidFill>
                <a:latin typeface="NOVA Bold"/>
                <a:ea typeface="NOVA Bold"/>
                <a:cs typeface="Arial" pitchFamily="34" charset="0"/>
              </a:rPr>
              <a:t>일차에 주로 이루어지나 조천읍</a:t>
            </a:r>
            <a:r>
              <a:rPr lang="ko-KR" altLang="en-US" sz="1600" spc="6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60">
                <a:ln>
                  <a:solidFill>
                    <a:prstClr val="black">
                      <a:alpha val="20000"/>
                    </a:prstClr>
                  </a:solidFill>
                </a:ln>
                <a:solidFill>
                  <a:srgbClr val="000000"/>
                </a:solidFill>
                <a:latin typeface="NOVA Bold"/>
                <a:ea typeface="NOVA Bold"/>
                <a:cs typeface="Arial" pitchFamily="34" charset="0"/>
              </a:rPr>
              <a:t>한경면이 방문 지역에서 제외되며</a:t>
            </a:r>
            <a:r>
              <a:rPr lang="en-US" altLang="ko-KR" sz="1600" spc="60">
                <a:ln>
                  <a:solidFill>
                    <a:prstClr val="black">
                      <a:alpha val="20000"/>
                    </a:prstClr>
                  </a:solidFill>
                </a:ln>
                <a:solidFill>
                  <a:srgbClr val="000000"/>
                </a:solidFill>
                <a:latin typeface="NOVA Bold"/>
                <a:ea typeface="NOVA Bold"/>
                <a:cs typeface="Arial" pitchFamily="34" charset="0"/>
              </a:rPr>
              <a:t>, </a:t>
            </a:r>
            <a:r>
              <a:rPr lang="ko-KR" altLang="en-US" sz="1600" spc="60">
                <a:ln>
                  <a:solidFill>
                    <a:prstClr val="black">
                      <a:alpha val="20000"/>
                    </a:prstClr>
                  </a:solidFill>
                </a:ln>
                <a:solidFill>
                  <a:srgbClr val="000000"/>
                </a:solidFill>
                <a:latin typeface="NOVA Bold"/>
                <a:ea typeface="NOVA Bold"/>
                <a:cs typeface="Arial" pitchFamily="34" charset="0"/>
              </a:rPr>
              <a:t>테디베어박물관</a:t>
            </a:r>
            <a:r>
              <a:rPr lang="en-US" altLang="ko-KR" sz="1600" spc="60">
                <a:ln>
                  <a:solidFill>
                    <a:prstClr val="black">
                      <a:alpha val="20000"/>
                    </a:prstClr>
                  </a:solidFill>
                </a:ln>
                <a:solidFill>
                  <a:srgbClr val="000000"/>
                </a:solidFill>
                <a:latin typeface="NOVA Bold"/>
                <a:ea typeface="NOVA Bold"/>
                <a:cs typeface="Arial" pitchFamily="34" charset="0"/>
              </a:rPr>
              <a:t>, </a:t>
            </a:r>
            <a:r>
              <a:rPr lang="ko-KR" altLang="en-US" sz="1600" spc="60">
                <a:ln>
                  <a:solidFill>
                    <a:prstClr val="black">
                      <a:alpha val="20000"/>
                    </a:prstClr>
                  </a:solidFill>
                </a:ln>
                <a:solidFill>
                  <a:srgbClr val="000000"/>
                </a:solidFill>
                <a:latin typeface="NOVA Bold"/>
                <a:ea typeface="NOVA Bold"/>
                <a:cs typeface="Arial" pitchFamily="34" charset="0"/>
              </a:rPr>
              <a:t>용두암</a:t>
            </a:r>
            <a:r>
              <a:rPr lang="en-US" altLang="ko-KR" sz="1600" spc="60">
                <a:ln>
                  <a:solidFill>
                    <a:prstClr val="black">
                      <a:alpha val="20000"/>
                    </a:prstClr>
                  </a:solidFill>
                </a:ln>
                <a:solidFill>
                  <a:srgbClr val="000000"/>
                </a:solidFill>
                <a:latin typeface="NOVA Bold"/>
                <a:ea typeface="NOVA Bold"/>
                <a:cs typeface="Arial" pitchFamily="34" charset="0"/>
              </a:rPr>
              <a:t>, </a:t>
            </a:r>
            <a:r>
              <a:rPr lang="ko-KR" altLang="en-US" sz="1600" spc="60">
                <a:ln>
                  <a:solidFill>
                    <a:prstClr val="black">
                      <a:alpha val="20000"/>
                    </a:prstClr>
                  </a:solidFill>
                </a:ln>
                <a:solidFill>
                  <a:srgbClr val="000000"/>
                </a:solidFill>
                <a:latin typeface="NOVA Bold"/>
                <a:ea typeface="NOVA Bold"/>
                <a:cs typeface="Arial" pitchFamily="34" charset="0"/>
              </a:rPr>
              <a:t>성산일출봉과 섭지코지 방문이 </a:t>
            </a:r>
            <a:r>
              <a:rPr lang="en-US" altLang="ko-KR" sz="1600" spc="60">
                <a:ln>
                  <a:solidFill>
                    <a:prstClr val="black">
                      <a:alpha val="20000"/>
                    </a:prstClr>
                  </a:solidFill>
                </a:ln>
                <a:solidFill>
                  <a:srgbClr val="000000"/>
                </a:solidFill>
                <a:latin typeface="NOVA Bold"/>
                <a:ea typeface="NOVA Bold"/>
                <a:cs typeface="Arial" pitchFamily="34" charset="0"/>
              </a:rPr>
              <a:t>2</a:t>
            </a:r>
            <a:r>
              <a:rPr lang="ko-KR" altLang="en-US" sz="1600" spc="60">
                <a:ln>
                  <a:solidFill>
                    <a:prstClr val="black">
                      <a:alpha val="20000"/>
                    </a:prstClr>
                  </a:solidFill>
                </a:ln>
                <a:solidFill>
                  <a:srgbClr val="000000"/>
                </a:solidFill>
                <a:latin typeface="NOVA Bold"/>
                <a:ea typeface="NOVA Bold"/>
                <a:cs typeface="Arial" pitchFamily="34" charset="0"/>
              </a:rPr>
              <a:t>개 상품 모두에 포함됨</a:t>
            </a:r>
            <a:endParaRPr lang="en-US" altLang="ko-KR" sz="1600" spc="6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3809870617"/>
              </p:ext>
            </p:extLst>
          </p:nvPr>
        </p:nvGraphicFramePr>
        <p:xfrm>
          <a:off x="6588224" y="2280012"/>
          <a:ext cx="2268252" cy="3921296"/>
        </p:xfrm>
        <a:graphic>
          <a:graphicData uri="http://schemas.openxmlformats.org/drawingml/2006/chart">
            <c:chart xmlns:c="http://schemas.openxmlformats.org/drawingml/2006/chart" xmlns:r="http://schemas.openxmlformats.org/officeDocument/2006/relationships" r:id="rId3"/>
          </a:graphicData>
        </a:graphic>
      </p:graphicFrame>
      <p:sp>
        <p:nvSpPr>
          <p:cNvPr id="103" name="타원 102"/>
          <p:cNvSpPr/>
          <p:nvPr/>
        </p:nvSpPr>
        <p:spPr>
          <a:xfrm>
            <a:off x="2830490"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4" name="직사각형 103"/>
          <p:cNvSpPr/>
          <p:nvPr/>
        </p:nvSpPr>
        <p:spPr>
          <a:xfrm>
            <a:off x="3919925"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5" name="이등변 삼각형 104"/>
          <p:cNvSpPr/>
          <p:nvPr/>
        </p:nvSpPr>
        <p:spPr>
          <a:xfrm>
            <a:off x="5036255" y="246759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6" name="TextBox 105"/>
          <p:cNvSpPr txBox="1"/>
          <p:nvPr/>
        </p:nvSpPr>
        <p:spPr>
          <a:xfrm>
            <a:off x="2964238"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107" name="TextBox 106"/>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108" name="TextBox 107"/>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122" name="자유형 121"/>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24" name="자유형 123"/>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7" name="자유형 126"/>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1" name="자유형 130"/>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2" name="자유형 131"/>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3" name="자유형 132"/>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9" name="자유형 138"/>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42" name="자유형 141"/>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0" name="자유형 149"/>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3" name="자유형 152"/>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4" name="자유형 153"/>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5" name="자유형 154"/>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64" name="자유형 163"/>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2" name="자유형 171"/>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4" name="자유형 173"/>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5" name="자유형 174"/>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80" name="자유형 179"/>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1" name="자유형 200"/>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2" name="자유형 201"/>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4" name="자유형 203"/>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5" name="TextBox 204"/>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06" name="TextBox 205"/>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07" name="TextBox 206"/>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08" name="TextBox 207"/>
          <p:cNvSpPr txBox="1"/>
          <p:nvPr/>
        </p:nvSpPr>
        <p:spPr>
          <a:xfrm>
            <a:off x="1606049" y="476403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43" name="TextBox 242"/>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44" name="TextBox 243"/>
          <p:cNvSpPr txBox="1"/>
          <p:nvPr/>
        </p:nvSpPr>
        <p:spPr>
          <a:xfrm>
            <a:off x="1915709" y="378962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45" name="TextBox 244"/>
          <p:cNvSpPr txBox="1"/>
          <p:nvPr/>
        </p:nvSpPr>
        <p:spPr>
          <a:xfrm>
            <a:off x="2384721" y="3447074"/>
            <a:ext cx="1284827"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46" name="TextBox 245"/>
          <p:cNvSpPr txBox="1"/>
          <p:nvPr/>
        </p:nvSpPr>
        <p:spPr>
          <a:xfrm>
            <a:off x="3460107" y="339299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47" name="TextBox 246"/>
          <p:cNvSpPr txBox="1"/>
          <p:nvPr/>
        </p:nvSpPr>
        <p:spPr>
          <a:xfrm>
            <a:off x="4215742" y="323938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48" name="TextBox 24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49" name="TextBox 24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50" name="TextBox 24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51" name="TextBox 250"/>
          <p:cNvSpPr txBox="1"/>
          <p:nvPr/>
        </p:nvSpPr>
        <p:spPr>
          <a:xfrm>
            <a:off x="3497828" y="47591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52" name="TextBox 251"/>
          <p:cNvSpPr txBox="1"/>
          <p:nvPr/>
        </p:nvSpPr>
        <p:spPr>
          <a:xfrm>
            <a:off x="2230786" y="4822277"/>
            <a:ext cx="1234755"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
        <p:nvSpPr>
          <p:cNvPr id="269" name="직사각형 268"/>
          <p:cNvSpPr/>
          <p:nvPr/>
        </p:nvSpPr>
        <p:spPr>
          <a:xfrm>
            <a:off x="2930916" y="331616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0" name="TextBox 269"/>
          <p:cNvSpPr txBox="1"/>
          <p:nvPr/>
        </p:nvSpPr>
        <p:spPr>
          <a:xfrm>
            <a:off x="3077850" y="328498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난타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2" name="TextBox 271"/>
          <p:cNvSpPr txBox="1"/>
          <p:nvPr/>
        </p:nvSpPr>
        <p:spPr>
          <a:xfrm>
            <a:off x="3233615" y="306896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3" name="타원 272"/>
          <p:cNvSpPr/>
          <p:nvPr/>
        </p:nvSpPr>
        <p:spPr>
          <a:xfrm>
            <a:off x="3095848" y="316801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5" name="TextBox 274"/>
          <p:cNvSpPr txBox="1"/>
          <p:nvPr/>
        </p:nvSpPr>
        <p:spPr>
          <a:xfrm>
            <a:off x="2701114" y="398274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6" name="TextBox 275"/>
          <p:cNvSpPr txBox="1"/>
          <p:nvPr/>
        </p:nvSpPr>
        <p:spPr>
          <a:xfrm>
            <a:off x="2109091" y="304905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7" name="타원 276"/>
          <p:cNvSpPr/>
          <p:nvPr/>
        </p:nvSpPr>
        <p:spPr>
          <a:xfrm>
            <a:off x="2762835" y="311392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8" name="직사각형 277"/>
          <p:cNvSpPr/>
          <p:nvPr/>
        </p:nvSpPr>
        <p:spPr>
          <a:xfrm>
            <a:off x="5460752" y="39590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9" name="TextBox 278"/>
          <p:cNvSpPr txBox="1"/>
          <p:nvPr/>
        </p:nvSpPr>
        <p:spPr>
          <a:xfrm>
            <a:off x="5461579" y="412428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0" name="직사각형 279"/>
          <p:cNvSpPr/>
          <p:nvPr/>
        </p:nvSpPr>
        <p:spPr>
          <a:xfrm>
            <a:off x="4334948" y="458056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1" name="TextBox 280"/>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2" name="직사각형 281"/>
          <p:cNvSpPr/>
          <p:nvPr/>
        </p:nvSpPr>
        <p:spPr>
          <a:xfrm>
            <a:off x="5604187" y="365398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3" name="TextBox 282"/>
          <p:cNvSpPr txBox="1"/>
          <p:nvPr/>
        </p:nvSpPr>
        <p:spPr>
          <a:xfrm>
            <a:off x="5658187" y="373988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4" name="직사각형 283"/>
          <p:cNvSpPr/>
          <p:nvPr/>
        </p:nvSpPr>
        <p:spPr>
          <a:xfrm>
            <a:off x="2987836" y="382504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5" name="이등변 삼각형 284"/>
          <p:cNvSpPr/>
          <p:nvPr/>
        </p:nvSpPr>
        <p:spPr>
          <a:xfrm>
            <a:off x="2906851" y="3113941"/>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6" name="TextBox 285"/>
          <p:cNvSpPr txBox="1"/>
          <p:nvPr/>
        </p:nvSpPr>
        <p:spPr>
          <a:xfrm>
            <a:off x="2571693" y="292494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연</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7" name="TextBox 286"/>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2</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특정 장소가 지정되지 않은 한라산 관광은 표시하지 않음</a:t>
            </a:r>
            <a:endParaRPr lang="en-US" altLang="ko-KR" sz="900">
              <a:solidFill>
                <a:srgbClr val="000000"/>
              </a:solidFill>
              <a:sym typeface="Wingdings 2"/>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sp>
        <p:nvSpPr>
          <p:cNvPr id="288" name="직사각형 287"/>
          <p:cNvSpPr/>
          <p:nvPr/>
        </p:nvSpPr>
        <p:spPr>
          <a:xfrm>
            <a:off x="3168311" y="53372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9" name="TextBox 288"/>
          <p:cNvSpPr txBox="1"/>
          <p:nvPr/>
        </p:nvSpPr>
        <p:spPr>
          <a:xfrm>
            <a:off x="2762835" y="513962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정방폭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0" name="TextBox 289"/>
          <p:cNvSpPr txBox="1"/>
          <p:nvPr/>
        </p:nvSpPr>
        <p:spPr>
          <a:xfrm>
            <a:off x="1999778" y="5580886"/>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1" name="직사각형 290"/>
          <p:cNvSpPr/>
          <p:nvPr/>
        </p:nvSpPr>
        <p:spPr>
          <a:xfrm>
            <a:off x="2363086" y="540922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2" name="TextBox 291"/>
          <p:cNvSpPr txBox="1"/>
          <p:nvPr/>
        </p:nvSpPr>
        <p:spPr>
          <a:xfrm>
            <a:off x="2877024" y="3644411"/>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3" name="이등변 삼각형 292"/>
          <p:cNvSpPr/>
          <p:nvPr/>
        </p:nvSpPr>
        <p:spPr>
          <a:xfrm>
            <a:off x="2897898" y="3645036"/>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5" name="자유형 294"/>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3" name="타원 72"/>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3</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829726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a:t>
            </a:r>
            <a:r>
              <a:rPr lang="en-US" altLang="ko-KR" smtClean="0"/>
              <a:t>3</a:t>
            </a:r>
            <a:r>
              <a:rPr lang="ko-KR" altLang="en-US" smtClean="0"/>
              <a:t>박 </a:t>
            </a:r>
            <a:r>
              <a:rPr lang="en-US" altLang="ko-KR" smtClean="0"/>
              <a:t>4</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대정읍과 남원읍을 제외한 전 지역의 관광지에 방문이 이루어지며</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특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테디베어박물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두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섭지코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라면세점 등의 방문 빈도가 높음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1671018147"/>
              </p:ext>
            </p:extLst>
          </p:nvPr>
        </p:nvGraphicFramePr>
        <p:xfrm>
          <a:off x="6660232" y="2280012"/>
          <a:ext cx="2268252" cy="3921296"/>
        </p:xfrm>
        <a:graphic>
          <a:graphicData uri="http://schemas.openxmlformats.org/drawingml/2006/chart">
            <c:chart xmlns:c="http://schemas.openxmlformats.org/drawingml/2006/chart" xmlns:r="http://schemas.openxmlformats.org/officeDocument/2006/relationships" r:id="rId3"/>
          </a:graphicData>
        </a:graphic>
      </p:graphicFrame>
      <p:sp>
        <p:nvSpPr>
          <p:cNvPr id="122" name="자유형 121"/>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24" name="자유형 123"/>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7" name="자유형 126"/>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1" name="자유형 130"/>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2" name="자유형 131"/>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3" name="자유형 132"/>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9" name="자유형 138"/>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42" name="자유형 141"/>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0" name="자유형 149"/>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3" name="자유형 152"/>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4" name="자유형 153"/>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5" name="자유형 154"/>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64" name="자유형 163"/>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2" name="자유형 171"/>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4" name="자유형 173"/>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5" name="자유형 174"/>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80" name="자유형 179"/>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1" name="자유형 200"/>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2" name="자유형 201"/>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4" name="자유형 203"/>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5" name="TextBox 204"/>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06" name="TextBox 205"/>
          <p:cNvSpPr txBox="1"/>
          <p:nvPr/>
        </p:nvSpPr>
        <p:spPr>
          <a:xfrm>
            <a:off x="885749" y="427661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07" name="TextBox 206"/>
          <p:cNvSpPr txBox="1"/>
          <p:nvPr/>
        </p:nvSpPr>
        <p:spPr>
          <a:xfrm>
            <a:off x="849745" y="5275765"/>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08" name="TextBox 207"/>
          <p:cNvSpPr txBox="1"/>
          <p:nvPr/>
        </p:nvSpPr>
        <p:spPr>
          <a:xfrm>
            <a:off x="1687870" y="466369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43" name="TextBox 242"/>
          <p:cNvSpPr txBox="1"/>
          <p:nvPr/>
        </p:nvSpPr>
        <p:spPr>
          <a:xfrm>
            <a:off x="1288714" y="389164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44" name="TextBox 243"/>
          <p:cNvSpPr txBox="1"/>
          <p:nvPr/>
        </p:nvSpPr>
        <p:spPr>
          <a:xfrm>
            <a:off x="2159732" y="4019315"/>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45" name="TextBox 244"/>
          <p:cNvSpPr txBox="1"/>
          <p:nvPr/>
        </p:nvSpPr>
        <p:spPr>
          <a:xfrm>
            <a:off x="2438799" y="3770966"/>
            <a:ext cx="1284827"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46" name="TextBox 245"/>
          <p:cNvSpPr txBox="1"/>
          <p:nvPr/>
        </p:nvSpPr>
        <p:spPr>
          <a:xfrm>
            <a:off x="3418322" y="347396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47" name="TextBox 246"/>
          <p:cNvSpPr txBox="1"/>
          <p:nvPr/>
        </p:nvSpPr>
        <p:spPr>
          <a:xfrm>
            <a:off x="4060324" y="349983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48" name="TextBox 24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49" name="TextBox 248"/>
          <p:cNvSpPr txBox="1"/>
          <p:nvPr/>
        </p:nvSpPr>
        <p:spPr>
          <a:xfrm>
            <a:off x="4448101" y="431636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50" name="TextBox 249"/>
          <p:cNvSpPr txBox="1"/>
          <p:nvPr/>
        </p:nvSpPr>
        <p:spPr>
          <a:xfrm>
            <a:off x="3838077" y="430365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51" name="TextBox 250"/>
          <p:cNvSpPr txBox="1"/>
          <p:nvPr/>
        </p:nvSpPr>
        <p:spPr>
          <a:xfrm>
            <a:off x="3497828" y="48598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52" name="TextBox 251"/>
          <p:cNvSpPr txBox="1"/>
          <p:nvPr/>
        </p:nvSpPr>
        <p:spPr>
          <a:xfrm>
            <a:off x="2376040" y="4867446"/>
            <a:ext cx="117089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
        <p:nvSpPr>
          <p:cNvPr id="270" name="TextBox 269"/>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6</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특정 장소가 지정되지 않은 한라산</a:t>
            </a:r>
            <a:r>
              <a:rPr lang="en-US" altLang="ko-KR" sz="900">
                <a:solidFill>
                  <a:srgbClr val="000000"/>
                </a:solidFill>
              </a:rPr>
              <a:t>, </a:t>
            </a:r>
            <a:r>
              <a:rPr lang="ko-KR" altLang="en-US" sz="900">
                <a:solidFill>
                  <a:srgbClr val="000000"/>
                </a:solidFill>
              </a:rPr>
              <a:t>올레길</a:t>
            </a:r>
            <a:r>
              <a:rPr lang="en-US" altLang="ko-KR" sz="900">
                <a:solidFill>
                  <a:srgbClr val="000000"/>
                </a:solidFill>
              </a:rPr>
              <a:t>, </a:t>
            </a:r>
            <a:r>
              <a:rPr lang="ko-KR" altLang="en-US" sz="900">
                <a:solidFill>
                  <a:srgbClr val="000000"/>
                </a:solidFill>
              </a:rPr>
              <a:t>대장금촬영지</a:t>
            </a:r>
            <a:r>
              <a:rPr lang="en-US" altLang="ko-KR" sz="900">
                <a:solidFill>
                  <a:srgbClr val="000000"/>
                </a:solidFill>
              </a:rPr>
              <a:t>, </a:t>
            </a:r>
            <a:r>
              <a:rPr lang="ko-KR" altLang="en-US" sz="900">
                <a:solidFill>
                  <a:srgbClr val="000000"/>
                </a:solidFill>
              </a:rPr>
              <a:t>체험장</a:t>
            </a:r>
            <a:r>
              <a:rPr lang="en-US" altLang="ko-KR" sz="900">
                <a:solidFill>
                  <a:srgbClr val="000000"/>
                </a:solidFill>
              </a:rPr>
              <a:t>(</a:t>
            </a:r>
            <a:r>
              <a:rPr lang="ko-KR" altLang="en-US" sz="900">
                <a:solidFill>
                  <a:srgbClr val="000000"/>
                </a:solidFill>
              </a:rPr>
              <a:t>도자기</a:t>
            </a:r>
            <a:r>
              <a:rPr lang="en-US" altLang="ko-KR" sz="900">
                <a:solidFill>
                  <a:srgbClr val="000000"/>
                </a:solidFill>
              </a:rPr>
              <a:t>, </a:t>
            </a:r>
            <a:r>
              <a:rPr lang="ko-KR" altLang="en-US" sz="900">
                <a:solidFill>
                  <a:srgbClr val="000000"/>
                </a:solidFill>
              </a:rPr>
              <a:t>스피드 보트</a:t>
            </a:r>
            <a:r>
              <a:rPr lang="en-US" altLang="ko-KR" sz="900">
                <a:solidFill>
                  <a:srgbClr val="000000"/>
                </a:solidFill>
              </a:rPr>
              <a:t>), </a:t>
            </a:r>
            <a:r>
              <a:rPr lang="ko-KR" altLang="en-US" sz="900">
                <a:solidFill>
                  <a:srgbClr val="000000"/>
                </a:solidFill>
              </a:rPr>
              <a:t>쇼핑 매장</a:t>
            </a:r>
            <a:r>
              <a:rPr lang="en-US" altLang="ko-KR" sz="900">
                <a:solidFill>
                  <a:srgbClr val="000000"/>
                </a:solidFill>
              </a:rPr>
              <a:t>(</a:t>
            </a:r>
            <a:r>
              <a:rPr lang="ko-KR" altLang="en-US" sz="900">
                <a:solidFill>
                  <a:srgbClr val="000000"/>
                </a:solidFill>
              </a:rPr>
              <a:t>면세품</a:t>
            </a:r>
            <a:r>
              <a:rPr lang="en-US" altLang="ko-KR" sz="900">
                <a:solidFill>
                  <a:srgbClr val="000000"/>
                </a:solidFill>
              </a:rPr>
              <a:t>, </a:t>
            </a:r>
            <a:r>
              <a:rPr lang="ko-KR" altLang="en-US" sz="900">
                <a:solidFill>
                  <a:srgbClr val="000000"/>
                </a:solidFill>
              </a:rPr>
              <a:t>인삼</a:t>
            </a:r>
            <a:r>
              <a:rPr lang="en-US" altLang="ko-KR" sz="900">
                <a:solidFill>
                  <a:srgbClr val="000000"/>
                </a:solidFill>
              </a:rPr>
              <a:t>, </a:t>
            </a:r>
            <a:r>
              <a:rPr lang="ko-KR" altLang="en-US" sz="900">
                <a:solidFill>
                  <a:srgbClr val="000000"/>
                </a:solidFill>
              </a:rPr>
              <a:t>기념품</a:t>
            </a:r>
            <a:r>
              <a:rPr lang="en-US" altLang="ko-KR" sz="900">
                <a:solidFill>
                  <a:srgbClr val="000000"/>
                </a:solidFill>
              </a:rPr>
              <a:t>, </a:t>
            </a:r>
            <a:r>
              <a:rPr lang="ko-KR" altLang="en-US" sz="900">
                <a:solidFill>
                  <a:srgbClr val="000000"/>
                </a:solidFill>
              </a:rPr>
              <a:t>허브</a:t>
            </a:r>
            <a:r>
              <a:rPr lang="en-US" altLang="ko-KR" sz="900">
                <a:solidFill>
                  <a:srgbClr val="000000"/>
                </a:solidFill>
              </a:rPr>
              <a:t>, </a:t>
            </a:r>
            <a:r>
              <a:rPr lang="ko-KR" altLang="en-US" sz="900">
                <a:solidFill>
                  <a:srgbClr val="000000"/>
                </a:solidFill>
              </a:rPr>
              <a:t>화장품</a:t>
            </a:r>
            <a:r>
              <a:rPr lang="en-US" altLang="ko-KR" sz="900">
                <a:solidFill>
                  <a:srgbClr val="000000"/>
                </a:solidFill>
              </a:rPr>
              <a:t>)</a:t>
            </a:r>
            <a:r>
              <a:rPr lang="ko-KR" altLang="en-US" sz="900">
                <a:solidFill>
                  <a:srgbClr val="000000"/>
                </a:solidFill>
              </a:rPr>
              <a:t>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grpSp>
        <p:nvGrpSpPr>
          <p:cNvPr id="3" name="그룹 2"/>
          <p:cNvGrpSpPr/>
          <p:nvPr/>
        </p:nvGrpSpPr>
        <p:grpSpPr>
          <a:xfrm>
            <a:off x="2296377" y="2456892"/>
            <a:ext cx="3643775" cy="149464"/>
            <a:chOff x="4896036" y="3836550"/>
            <a:chExt cx="3643775" cy="149464"/>
          </a:xfrm>
        </p:grpSpPr>
        <p:sp>
          <p:nvSpPr>
            <p:cNvPr id="271" name="타원 270"/>
            <p:cNvSpPr/>
            <p:nvPr/>
          </p:nvSpPr>
          <p:spPr>
            <a:xfrm>
              <a:off x="4896036" y="385728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sp>
          <p:nvSpPr>
            <p:cNvPr id="272" name="직사각형 271"/>
            <p:cNvSpPr/>
            <p:nvPr/>
          </p:nvSpPr>
          <p:spPr>
            <a:xfrm>
              <a:off x="5817434" y="385728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sp>
          <p:nvSpPr>
            <p:cNvPr id="273" name="이등변 삼각형 272"/>
            <p:cNvSpPr/>
            <p:nvPr/>
          </p:nvSpPr>
          <p:spPr>
            <a:xfrm>
              <a:off x="6744779" y="3857282"/>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sp>
          <p:nvSpPr>
            <p:cNvPr id="274" name="TextBox 273"/>
            <p:cNvSpPr txBox="1"/>
            <p:nvPr/>
          </p:nvSpPr>
          <p:spPr>
            <a:xfrm>
              <a:off x="5029784"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75" name="TextBox 274"/>
            <p:cNvSpPr txBox="1"/>
            <p:nvPr/>
          </p:nvSpPr>
          <p:spPr>
            <a:xfrm>
              <a:off x="5935774"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276" name="TextBox 275"/>
            <p:cNvSpPr txBox="1"/>
            <p:nvPr/>
          </p:nvSpPr>
          <p:spPr>
            <a:xfrm>
              <a:off x="6847711"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277" name="TextBox 276"/>
            <p:cNvSpPr txBox="1"/>
            <p:nvPr/>
          </p:nvSpPr>
          <p:spPr>
            <a:xfrm>
              <a:off x="7747811"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4</a:t>
              </a:r>
              <a:r>
                <a:rPr lang="ko-KR" altLang="en-US" sz="1050">
                  <a:solidFill>
                    <a:srgbClr val="000000"/>
                  </a:solidFill>
                  <a:cs typeface="Arial Narrow" pitchFamily="34" charset="0"/>
                </a:rPr>
                <a:t>일차 방문지</a:t>
              </a:r>
            </a:p>
          </p:txBody>
        </p:sp>
        <p:sp>
          <p:nvSpPr>
            <p:cNvPr id="278" name="다이아몬드 277"/>
            <p:cNvSpPr/>
            <p:nvPr/>
          </p:nvSpPr>
          <p:spPr>
            <a:xfrm>
              <a:off x="7628263" y="3857282"/>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grpSp>
      <p:sp>
        <p:nvSpPr>
          <p:cNvPr id="279" name="TextBox 278"/>
          <p:cNvSpPr txBox="1"/>
          <p:nvPr/>
        </p:nvSpPr>
        <p:spPr>
          <a:xfrm>
            <a:off x="2792042" y="4428076"/>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1100</a:t>
            </a: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고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0" name="타원 279"/>
          <p:cNvSpPr/>
          <p:nvPr/>
        </p:nvSpPr>
        <p:spPr>
          <a:xfrm>
            <a:off x="2663800" y="4545136"/>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1" name="TextBox 280"/>
          <p:cNvSpPr txBox="1"/>
          <p:nvPr/>
        </p:nvSpPr>
        <p:spPr>
          <a:xfrm>
            <a:off x="395624" y="4473987"/>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미라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트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2" name="타원 281"/>
          <p:cNvSpPr/>
          <p:nvPr/>
        </p:nvSpPr>
        <p:spPr>
          <a:xfrm>
            <a:off x="1034499" y="4508976"/>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3" name="TextBox 282"/>
          <p:cNvSpPr txBox="1"/>
          <p:nvPr/>
        </p:nvSpPr>
        <p:spPr>
          <a:xfrm>
            <a:off x="2303748" y="373546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공룡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4" name="직사각형 283"/>
          <p:cNvSpPr/>
          <p:nvPr/>
        </p:nvSpPr>
        <p:spPr>
          <a:xfrm>
            <a:off x="2798851" y="34290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5" name="TextBox 284"/>
          <p:cNvSpPr txBox="1"/>
          <p:nvPr/>
        </p:nvSpPr>
        <p:spPr>
          <a:xfrm>
            <a:off x="3233615" y="306896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6" name="타원 285"/>
          <p:cNvSpPr/>
          <p:nvPr/>
        </p:nvSpPr>
        <p:spPr>
          <a:xfrm>
            <a:off x="3095848" y="316801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8" name="TextBox 287"/>
          <p:cNvSpPr txBox="1"/>
          <p:nvPr/>
        </p:nvSpPr>
        <p:spPr>
          <a:xfrm>
            <a:off x="1619760" y="336114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9" name="타원 288"/>
          <p:cNvSpPr/>
          <p:nvPr/>
        </p:nvSpPr>
        <p:spPr>
          <a:xfrm>
            <a:off x="2699792" y="325808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0" name="TextBox 289"/>
          <p:cNvSpPr txBox="1"/>
          <p:nvPr/>
        </p:nvSpPr>
        <p:spPr>
          <a:xfrm>
            <a:off x="2701114" y="398274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2" name="타원 291"/>
          <p:cNvSpPr/>
          <p:nvPr/>
        </p:nvSpPr>
        <p:spPr>
          <a:xfrm>
            <a:off x="3023840" y="3834021"/>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3" name="TextBox 292"/>
          <p:cNvSpPr txBox="1"/>
          <p:nvPr/>
        </p:nvSpPr>
        <p:spPr>
          <a:xfrm>
            <a:off x="2231828" y="29430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4" name="타원 293"/>
          <p:cNvSpPr/>
          <p:nvPr/>
        </p:nvSpPr>
        <p:spPr>
          <a:xfrm>
            <a:off x="2762835" y="311392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5" name="타원 294"/>
          <p:cNvSpPr/>
          <p:nvPr/>
        </p:nvSpPr>
        <p:spPr>
          <a:xfrm>
            <a:off x="3059844" y="328498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6" name="TextBox 295"/>
          <p:cNvSpPr txBox="1"/>
          <p:nvPr/>
        </p:nvSpPr>
        <p:spPr>
          <a:xfrm>
            <a:off x="3190248" y="3239033"/>
            <a:ext cx="137278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자연사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7" name="TextBox 296"/>
          <p:cNvSpPr txBox="1"/>
          <p:nvPr/>
        </p:nvSpPr>
        <p:spPr>
          <a:xfrm>
            <a:off x="2957997" y="3627457"/>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8" name="타원 297"/>
          <p:cNvSpPr/>
          <p:nvPr/>
        </p:nvSpPr>
        <p:spPr>
          <a:xfrm>
            <a:off x="2970311" y="3649745"/>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9" name="타원 298"/>
          <p:cNvSpPr/>
          <p:nvPr/>
        </p:nvSpPr>
        <p:spPr>
          <a:xfrm>
            <a:off x="2394122" y="485072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0" name="TextBox 299"/>
          <p:cNvSpPr txBox="1"/>
          <p:nvPr/>
        </p:nvSpPr>
        <p:spPr>
          <a:xfrm>
            <a:off x="2440293" y="4689140"/>
            <a:ext cx="1339619"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헬로키티아일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1" name="직사각형 300"/>
          <p:cNvSpPr/>
          <p:nvPr/>
        </p:nvSpPr>
        <p:spPr>
          <a:xfrm>
            <a:off x="4572000" y="303296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2" name="TextBox 301"/>
          <p:cNvSpPr txBox="1"/>
          <p:nvPr/>
        </p:nvSpPr>
        <p:spPr>
          <a:xfrm>
            <a:off x="4305098" y="284447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녕미로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3" name="자유형 302"/>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no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304" name="직사각형 303"/>
          <p:cNvSpPr/>
          <p:nvPr/>
        </p:nvSpPr>
        <p:spPr>
          <a:xfrm>
            <a:off x="1691680" y="483315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5" name="직사각형 304"/>
          <p:cNvSpPr/>
          <p:nvPr/>
        </p:nvSpPr>
        <p:spPr>
          <a:xfrm>
            <a:off x="2555776" y="320401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6" name="TextBox 305"/>
          <p:cNvSpPr txBox="1"/>
          <p:nvPr/>
        </p:nvSpPr>
        <p:spPr>
          <a:xfrm>
            <a:off x="1862591" y="314935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치스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7" name="직사각형 306"/>
          <p:cNvSpPr/>
          <p:nvPr/>
        </p:nvSpPr>
        <p:spPr>
          <a:xfrm>
            <a:off x="2930916" y="331616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8" name="TextBox 307"/>
          <p:cNvSpPr txBox="1"/>
          <p:nvPr/>
        </p:nvSpPr>
        <p:spPr>
          <a:xfrm>
            <a:off x="2984649" y="344743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난타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0" name="TextBox 309"/>
          <p:cNvSpPr txBox="1"/>
          <p:nvPr/>
        </p:nvSpPr>
        <p:spPr>
          <a:xfrm>
            <a:off x="971600" y="4797152"/>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오설록티</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1" name="직사각형 310"/>
          <p:cNvSpPr/>
          <p:nvPr/>
        </p:nvSpPr>
        <p:spPr>
          <a:xfrm>
            <a:off x="2303760" y="424813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2" name="TextBox 311"/>
          <p:cNvSpPr txBox="1"/>
          <p:nvPr/>
        </p:nvSpPr>
        <p:spPr>
          <a:xfrm>
            <a:off x="2436506" y="4210738"/>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드라마월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3" name="TextBox 312"/>
          <p:cNvSpPr txBox="1"/>
          <p:nvPr/>
        </p:nvSpPr>
        <p:spPr>
          <a:xfrm>
            <a:off x="3167996" y="287138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롯데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4" name="직사각형 313"/>
          <p:cNvSpPr/>
          <p:nvPr/>
        </p:nvSpPr>
        <p:spPr>
          <a:xfrm>
            <a:off x="2834711" y="324898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9" name="직선 화살표 연결선 8"/>
          <p:cNvCxnSpPr/>
          <p:nvPr/>
        </p:nvCxnSpPr>
        <p:spPr>
          <a:xfrm flipV="1">
            <a:off x="2915904" y="2996124"/>
            <a:ext cx="301871" cy="279896"/>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cxnSp>
        <p:nvCxnSpPr>
          <p:cNvPr id="12" name="직선 화살표 연결선 11"/>
          <p:cNvCxnSpPr/>
          <p:nvPr/>
        </p:nvCxnSpPr>
        <p:spPr>
          <a:xfrm flipH="1">
            <a:off x="2418903" y="3326463"/>
            <a:ext cx="306229" cy="103564"/>
          </a:xfrm>
          <a:prstGeom prst="straightConnector1">
            <a:avLst/>
          </a:prstGeom>
          <a:ln w="952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15" name="직사각형 314"/>
          <p:cNvSpPr/>
          <p:nvPr/>
        </p:nvSpPr>
        <p:spPr>
          <a:xfrm>
            <a:off x="4535996" y="317698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6" name="TextBox 315"/>
          <p:cNvSpPr txBox="1"/>
          <p:nvPr/>
        </p:nvSpPr>
        <p:spPr>
          <a:xfrm>
            <a:off x="4392068" y="329263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만장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7" name="직사각형 316"/>
          <p:cNvSpPr/>
          <p:nvPr/>
        </p:nvSpPr>
        <p:spPr>
          <a:xfrm>
            <a:off x="3167844" y="542446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8" name="TextBox 317"/>
          <p:cNvSpPr txBox="1"/>
          <p:nvPr/>
        </p:nvSpPr>
        <p:spPr>
          <a:xfrm>
            <a:off x="3294635" y="5463661"/>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새섬다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9" name="직사각형 318"/>
          <p:cNvSpPr/>
          <p:nvPr/>
        </p:nvSpPr>
        <p:spPr>
          <a:xfrm>
            <a:off x="2555788" y="529168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0" name="TextBox 319"/>
          <p:cNvSpPr txBox="1"/>
          <p:nvPr/>
        </p:nvSpPr>
        <p:spPr>
          <a:xfrm>
            <a:off x="1848509" y="513010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선임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3" name="직사각형 322"/>
          <p:cNvSpPr/>
          <p:nvPr/>
        </p:nvSpPr>
        <p:spPr>
          <a:xfrm>
            <a:off x="3032793" y="543625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4" name="TextBox 323"/>
          <p:cNvSpPr txBox="1"/>
          <p:nvPr/>
        </p:nvSpPr>
        <p:spPr>
          <a:xfrm>
            <a:off x="3521647" y="5175629"/>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외돌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5" name="TextBox 324"/>
          <p:cNvSpPr txBox="1"/>
          <p:nvPr/>
        </p:nvSpPr>
        <p:spPr>
          <a:xfrm>
            <a:off x="5858474" y="3358223"/>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우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6" name="직사각형 325"/>
          <p:cNvSpPr/>
          <p:nvPr/>
        </p:nvSpPr>
        <p:spPr>
          <a:xfrm>
            <a:off x="5697089" y="339300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7" name="직사각형 326"/>
          <p:cNvSpPr/>
          <p:nvPr/>
        </p:nvSpPr>
        <p:spPr>
          <a:xfrm>
            <a:off x="1187636" y="46171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8" name="TextBox 327"/>
          <p:cNvSpPr txBox="1"/>
          <p:nvPr/>
        </p:nvSpPr>
        <p:spPr>
          <a:xfrm>
            <a:off x="1145383" y="450912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유리의성</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9" name="직사각형 328"/>
          <p:cNvSpPr/>
          <p:nvPr/>
        </p:nvSpPr>
        <p:spPr>
          <a:xfrm>
            <a:off x="1871712" y="490516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1" name="직사각형 330"/>
          <p:cNvSpPr/>
          <p:nvPr/>
        </p:nvSpPr>
        <p:spPr>
          <a:xfrm>
            <a:off x="2259192" y="544522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3" name="TextBox 332"/>
          <p:cNvSpPr txBox="1"/>
          <p:nvPr/>
        </p:nvSpPr>
        <p:spPr>
          <a:xfrm>
            <a:off x="1475656" y="5481228"/>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중문해수욕장</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4" name="TextBox 333"/>
          <p:cNvSpPr txBox="1"/>
          <p:nvPr/>
        </p:nvSpPr>
        <p:spPr>
          <a:xfrm>
            <a:off x="1963774" y="5698123"/>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5" name="직사각형 334"/>
          <p:cNvSpPr/>
          <p:nvPr/>
        </p:nvSpPr>
        <p:spPr>
          <a:xfrm>
            <a:off x="2363086" y="540922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36" name="직선 화살표 연결선 335"/>
          <p:cNvCxnSpPr>
            <a:endCxn id="334" idx="0"/>
          </p:cNvCxnSpPr>
          <p:nvPr/>
        </p:nvCxnSpPr>
        <p:spPr>
          <a:xfrm>
            <a:off x="2411760" y="5467248"/>
            <a:ext cx="10033" cy="230875"/>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37" name="직사각형 336"/>
          <p:cNvSpPr/>
          <p:nvPr/>
        </p:nvSpPr>
        <p:spPr>
          <a:xfrm>
            <a:off x="2555776" y="542503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8" name="TextBox 337"/>
          <p:cNvSpPr txBox="1"/>
          <p:nvPr/>
        </p:nvSpPr>
        <p:spPr>
          <a:xfrm>
            <a:off x="2663788" y="5823701"/>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천제연폭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9" name="직선 화살표 연결선 338"/>
          <p:cNvCxnSpPr/>
          <p:nvPr/>
        </p:nvCxnSpPr>
        <p:spPr>
          <a:xfrm>
            <a:off x="2606626" y="5445224"/>
            <a:ext cx="216000" cy="324000"/>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40" name="이등변 삼각형 339"/>
          <p:cNvSpPr/>
          <p:nvPr/>
        </p:nvSpPr>
        <p:spPr>
          <a:xfrm>
            <a:off x="4770094" y="490516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1" name="TextBox 340"/>
          <p:cNvSpPr txBox="1"/>
          <p:nvPr/>
        </p:nvSpPr>
        <p:spPr>
          <a:xfrm>
            <a:off x="5102951" y="4537724"/>
            <a:ext cx="87727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인없는찻집</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2" name="이등변 삼각형 341"/>
          <p:cNvSpPr/>
          <p:nvPr/>
        </p:nvSpPr>
        <p:spPr>
          <a:xfrm>
            <a:off x="4824028" y="3456511"/>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3" name="TextBox 342"/>
          <p:cNvSpPr txBox="1"/>
          <p:nvPr/>
        </p:nvSpPr>
        <p:spPr>
          <a:xfrm>
            <a:off x="4917737" y="3347276"/>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비자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4" name="이등변 삼각형 343"/>
          <p:cNvSpPr/>
          <p:nvPr/>
        </p:nvSpPr>
        <p:spPr>
          <a:xfrm>
            <a:off x="3851920" y="385255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5" name="TextBox 344"/>
          <p:cNvSpPr txBox="1"/>
          <p:nvPr/>
        </p:nvSpPr>
        <p:spPr>
          <a:xfrm>
            <a:off x="3671900" y="3996462"/>
            <a:ext cx="6291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산굼부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6" name="TextBox 345"/>
          <p:cNvSpPr txBox="1"/>
          <p:nvPr/>
        </p:nvSpPr>
        <p:spPr>
          <a:xfrm>
            <a:off x="4839356" y="414578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7" name="이등변 삼각형 346"/>
          <p:cNvSpPr/>
          <p:nvPr/>
        </p:nvSpPr>
        <p:spPr>
          <a:xfrm>
            <a:off x="5445061" y="405004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8" name="TextBox 347"/>
          <p:cNvSpPr txBox="1"/>
          <p:nvPr/>
        </p:nvSpPr>
        <p:spPr>
          <a:xfrm>
            <a:off x="5665264" y="363496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9" name="이등변 삼각형 348"/>
          <p:cNvSpPr/>
          <p:nvPr/>
        </p:nvSpPr>
        <p:spPr>
          <a:xfrm>
            <a:off x="5597461" y="365398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0" name="TextBox 349"/>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1" name="이등변 삼각형 350"/>
          <p:cNvSpPr/>
          <p:nvPr/>
        </p:nvSpPr>
        <p:spPr>
          <a:xfrm>
            <a:off x="4391980" y="460817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3" name="TextBox 352"/>
          <p:cNvSpPr txBox="1"/>
          <p:nvPr/>
        </p:nvSpPr>
        <p:spPr>
          <a:xfrm>
            <a:off x="1347838" y="5121188"/>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자동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4" name="TextBox 353"/>
          <p:cNvSpPr txBox="1"/>
          <p:nvPr/>
        </p:nvSpPr>
        <p:spPr>
          <a:xfrm>
            <a:off x="1757595" y="4851527"/>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소인국</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5" name="이등변 삼각형 354"/>
          <p:cNvSpPr/>
          <p:nvPr/>
        </p:nvSpPr>
        <p:spPr>
          <a:xfrm>
            <a:off x="1727684" y="495014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6" name="TextBox 355"/>
          <p:cNvSpPr txBox="1"/>
          <p:nvPr/>
        </p:nvSpPr>
        <p:spPr>
          <a:xfrm>
            <a:off x="1619760" y="355544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7" name="이등변 삼각형 356"/>
          <p:cNvSpPr/>
          <p:nvPr/>
        </p:nvSpPr>
        <p:spPr>
          <a:xfrm>
            <a:off x="2681730" y="335700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58" name="직선 화살표 연결선 357"/>
          <p:cNvCxnSpPr/>
          <p:nvPr/>
        </p:nvCxnSpPr>
        <p:spPr>
          <a:xfrm flipH="1">
            <a:off x="2357816" y="3448050"/>
            <a:ext cx="341976" cy="117423"/>
          </a:xfrm>
          <a:prstGeom prst="straightConnector1">
            <a:avLst/>
          </a:prstGeom>
          <a:ln w="9525">
            <a:solidFill>
              <a:srgbClr val="33CC33"/>
            </a:solidFill>
            <a:tailEnd type="arrow"/>
          </a:ln>
        </p:spPr>
        <p:style>
          <a:lnRef idx="1">
            <a:schemeClr val="accent1"/>
          </a:lnRef>
          <a:fillRef idx="0">
            <a:schemeClr val="accent1"/>
          </a:fillRef>
          <a:effectRef idx="0">
            <a:schemeClr val="accent1"/>
          </a:effectRef>
          <a:fontRef idx="minor">
            <a:schemeClr val="tx1"/>
          </a:fontRef>
        </p:style>
      </p:cxnSp>
      <p:sp>
        <p:nvSpPr>
          <p:cNvPr id="359" name="TextBox 358"/>
          <p:cNvSpPr txBox="1"/>
          <p:nvPr/>
        </p:nvSpPr>
        <p:spPr>
          <a:xfrm>
            <a:off x="4589303" y="3876288"/>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0" name="이등변 삼각형 359"/>
          <p:cNvSpPr/>
          <p:nvPr/>
        </p:nvSpPr>
        <p:spPr>
          <a:xfrm>
            <a:off x="5499151" y="376201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1" name="TextBox 360"/>
          <p:cNvSpPr txBox="1"/>
          <p:nvPr/>
        </p:nvSpPr>
        <p:spPr>
          <a:xfrm>
            <a:off x="2699792" y="5581069"/>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상절리</a:t>
            </a:r>
          </a:p>
        </p:txBody>
      </p:sp>
      <p:sp>
        <p:nvSpPr>
          <p:cNvPr id="363" name="이등변 삼각형 362"/>
          <p:cNvSpPr/>
          <p:nvPr/>
        </p:nvSpPr>
        <p:spPr>
          <a:xfrm>
            <a:off x="2807816" y="547171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4" name="이등변 삼각형 363"/>
          <p:cNvSpPr/>
          <p:nvPr/>
        </p:nvSpPr>
        <p:spPr>
          <a:xfrm>
            <a:off x="3059844" y="527472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5" name="TextBox 364"/>
          <p:cNvSpPr txBox="1"/>
          <p:nvPr/>
        </p:nvSpPr>
        <p:spPr>
          <a:xfrm>
            <a:off x="2496621" y="5075659"/>
            <a:ext cx="124728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천지연폭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66" name="직선 화살표 연결선 365"/>
          <p:cNvCxnSpPr>
            <a:endCxn id="324" idx="1"/>
          </p:cNvCxnSpPr>
          <p:nvPr/>
        </p:nvCxnSpPr>
        <p:spPr>
          <a:xfrm flipV="1">
            <a:off x="3086793" y="5256421"/>
            <a:ext cx="434854" cy="189364"/>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67" name="TextBox 366"/>
          <p:cNvSpPr txBox="1"/>
          <p:nvPr/>
        </p:nvSpPr>
        <p:spPr>
          <a:xfrm>
            <a:off x="1295636" y="407707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트릭아이</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8" name="이등변 삼각형 367"/>
          <p:cNvSpPr/>
          <p:nvPr/>
        </p:nvSpPr>
        <p:spPr>
          <a:xfrm>
            <a:off x="1979724" y="4293096"/>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9" name="이등변 삼각형 368"/>
          <p:cNvSpPr/>
          <p:nvPr/>
        </p:nvSpPr>
        <p:spPr>
          <a:xfrm>
            <a:off x="2663788" y="348786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70" name="직선 화살표 연결선 369"/>
          <p:cNvCxnSpPr>
            <a:stCxn id="284" idx="2"/>
          </p:cNvCxnSpPr>
          <p:nvPr/>
        </p:nvCxnSpPr>
        <p:spPr>
          <a:xfrm flipH="1">
            <a:off x="2735730" y="3537012"/>
            <a:ext cx="117121" cy="180020"/>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71" name="TextBox 370"/>
          <p:cNvSpPr txBox="1"/>
          <p:nvPr/>
        </p:nvSpPr>
        <p:spPr>
          <a:xfrm>
            <a:off x="1619672" y="3753907"/>
            <a:ext cx="1054567"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페인터즈</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히어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72" name="직선 화살표 연결선 371"/>
          <p:cNvCxnSpPr>
            <a:stCxn id="369" idx="2"/>
          </p:cNvCxnSpPr>
          <p:nvPr/>
        </p:nvCxnSpPr>
        <p:spPr>
          <a:xfrm flipH="1">
            <a:off x="2313192" y="3595864"/>
            <a:ext cx="350596" cy="157172"/>
          </a:xfrm>
          <a:prstGeom prst="straightConnector1">
            <a:avLst/>
          </a:prstGeom>
          <a:ln w="9525">
            <a:solidFill>
              <a:srgbClr val="33CC33"/>
            </a:solidFill>
            <a:tailEnd type="arrow"/>
          </a:ln>
        </p:spPr>
        <p:style>
          <a:lnRef idx="1">
            <a:schemeClr val="accent1"/>
          </a:lnRef>
          <a:fillRef idx="0">
            <a:schemeClr val="accent1"/>
          </a:fillRef>
          <a:effectRef idx="0">
            <a:schemeClr val="accent1"/>
          </a:effectRef>
          <a:fontRef idx="minor">
            <a:schemeClr val="tx1"/>
          </a:fontRef>
        </p:style>
      </p:cxnSp>
      <p:sp>
        <p:nvSpPr>
          <p:cNvPr id="373" name="이등변 삼각형 372"/>
          <p:cNvSpPr/>
          <p:nvPr/>
        </p:nvSpPr>
        <p:spPr>
          <a:xfrm>
            <a:off x="5040064" y="3140968"/>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74" name="TextBox 373"/>
          <p:cNvSpPr txBox="1"/>
          <p:nvPr/>
        </p:nvSpPr>
        <p:spPr>
          <a:xfrm>
            <a:off x="5097098" y="299612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해녀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75" name="TextBox 374"/>
          <p:cNvSpPr txBox="1"/>
          <p:nvPr/>
        </p:nvSpPr>
        <p:spPr>
          <a:xfrm>
            <a:off x="2663788" y="269577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77" name="직선 화살표 연결선 376"/>
          <p:cNvCxnSpPr/>
          <p:nvPr/>
        </p:nvCxnSpPr>
        <p:spPr>
          <a:xfrm flipV="1">
            <a:off x="2954588" y="2871385"/>
            <a:ext cx="84328" cy="225971"/>
          </a:xfrm>
          <a:prstGeom prst="straightConnector1">
            <a:avLst/>
          </a:prstGeom>
          <a:ln w="9525">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378" name="다이아몬드 377"/>
          <p:cNvSpPr/>
          <p:nvPr/>
        </p:nvSpPr>
        <p:spPr>
          <a:xfrm>
            <a:off x="2888777" y="3077925"/>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79" name="다이아몬드 378"/>
          <p:cNvSpPr/>
          <p:nvPr/>
        </p:nvSpPr>
        <p:spPr>
          <a:xfrm>
            <a:off x="5004048" y="4518097"/>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80" name="TextBox 379"/>
          <p:cNvSpPr txBox="1"/>
          <p:nvPr/>
        </p:nvSpPr>
        <p:spPr>
          <a:xfrm>
            <a:off x="5031443" y="5174541"/>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촌</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81" name="타원 380"/>
          <p:cNvSpPr/>
          <p:nvPr/>
        </p:nvSpPr>
        <p:spPr>
          <a:xfrm>
            <a:off x="6739403" y="521967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2" name="타원 381"/>
          <p:cNvSpPr/>
          <p:nvPr/>
        </p:nvSpPr>
        <p:spPr>
          <a:xfrm>
            <a:off x="6739403" y="4636182"/>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3" name="타원 382"/>
          <p:cNvSpPr/>
          <p:nvPr/>
        </p:nvSpPr>
        <p:spPr>
          <a:xfrm>
            <a:off x="6739403" y="3781611"/>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4" name="타원 383"/>
          <p:cNvSpPr/>
          <p:nvPr/>
        </p:nvSpPr>
        <p:spPr>
          <a:xfrm>
            <a:off x="6739403" y="3628070"/>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5" name="타원 384"/>
          <p:cNvSpPr/>
          <p:nvPr/>
        </p:nvSpPr>
        <p:spPr>
          <a:xfrm>
            <a:off x="6739403" y="322040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6" name="TextBox 385"/>
          <p:cNvSpPr txBox="1"/>
          <p:nvPr/>
        </p:nvSpPr>
        <p:spPr>
          <a:xfrm>
            <a:off x="7896186"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387" name="TextBox 386"/>
          <p:cNvSpPr txBox="1"/>
          <p:nvPr/>
        </p:nvSpPr>
        <p:spPr>
          <a:xfrm>
            <a:off x="7475759"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156" name="타원 155"/>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4</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96456383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a:t>
            </a:r>
            <a:r>
              <a:rPr lang="en-US" altLang="ko-KR" smtClean="0"/>
              <a:t>       4</a:t>
            </a:r>
            <a:r>
              <a:rPr lang="ko-KR" altLang="en-US" smtClean="0"/>
              <a:t>박 </a:t>
            </a:r>
            <a:r>
              <a:rPr lang="en-US" altLang="ko-KR" smtClean="0"/>
              <a:t>5</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상대적으로 긴 방문 기간임에도 불구하고 제주시 도심 내 관광지 방문이 집중되어 있으며</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한라수목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두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테디베어박물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읍민속마을 등의 방문 빈도가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66" name="TextBox 65"/>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3</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특정 장소가 지정되지 않은 한라산</a:t>
            </a:r>
            <a:r>
              <a:rPr lang="en-US" altLang="ko-KR" sz="900">
                <a:solidFill>
                  <a:srgbClr val="000000"/>
                </a:solidFill>
              </a:rPr>
              <a:t>, </a:t>
            </a:r>
            <a:r>
              <a:rPr lang="ko-KR" altLang="en-US" sz="900">
                <a:solidFill>
                  <a:srgbClr val="000000"/>
                </a:solidFill>
              </a:rPr>
              <a:t>올레길</a:t>
            </a:r>
            <a:r>
              <a:rPr lang="en-US" altLang="ko-KR" sz="900">
                <a:solidFill>
                  <a:srgbClr val="000000"/>
                </a:solidFill>
              </a:rPr>
              <a:t>, </a:t>
            </a:r>
            <a:r>
              <a:rPr lang="ko-KR" altLang="en-US" sz="900">
                <a:solidFill>
                  <a:srgbClr val="000000"/>
                </a:solidFill>
              </a:rPr>
              <a:t>대장금촬영지</a:t>
            </a:r>
            <a:r>
              <a:rPr lang="en-US" altLang="ko-KR" sz="900">
                <a:solidFill>
                  <a:srgbClr val="000000"/>
                </a:solidFill>
              </a:rPr>
              <a:t>,</a:t>
            </a:r>
            <a:r>
              <a:rPr lang="ko-KR" altLang="en-US" sz="900">
                <a:solidFill>
                  <a:srgbClr val="000000"/>
                </a:solidFill>
              </a:rPr>
              <a:t> 체험장</a:t>
            </a:r>
            <a:r>
              <a:rPr lang="en-US" altLang="ko-KR" sz="900">
                <a:solidFill>
                  <a:srgbClr val="000000"/>
                </a:solidFill>
              </a:rPr>
              <a:t>(</a:t>
            </a:r>
            <a:r>
              <a:rPr lang="ko-KR" altLang="en-US" sz="900">
                <a:solidFill>
                  <a:srgbClr val="000000"/>
                </a:solidFill>
              </a:rPr>
              <a:t>스피드 보트</a:t>
            </a:r>
            <a:r>
              <a:rPr lang="en-US" altLang="ko-KR" sz="900">
                <a:solidFill>
                  <a:srgbClr val="000000"/>
                </a:solidFill>
              </a:rPr>
              <a:t>), </a:t>
            </a:r>
            <a:r>
              <a:rPr lang="ko-KR" altLang="en-US" sz="900">
                <a:solidFill>
                  <a:srgbClr val="000000"/>
                </a:solidFill>
              </a:rPr>
              <a:t>쇼핑 매장</a:t>
            </a:r>
            <a:r>
              <a:rPr lang="en-US" altLang="ko-KR" sz="900">
                <a:solidFill>
                  <a:srgbClr val="000000"/>
                </a:solidFill>
              </a:rPr>
              <a:t>(</a:t>
            </a:r>
            <a:r>
              <a:rPr lang="ko-KR" altLang="en-US" sz="900">
                <a:solidFill>
                  <a:srgbClr val="000000"/>
                </a:solidFill>
              </a:rPr>
              <a:t>면세점</a:t>
            </a:r>
            <a:r>
              <a:rPr lang="en-US" altLang="ko-KR" sz="900">
                <a:solidFill>
                  <a:srgbClr val="000000"/>
                </a:solidFill>
              </a:rPr>
              <a:t>, </a:t>
            </a:r>
            <a:r>
              <a:rPr lang="ko-KR" altLang="en-US" sz="900">
                <a:solidFill>
                  <a:srgbClr val="000000"/>
                </a:solidFill>
              </a:rPr>
              <a:t>허브</a:t>
            </a:r>
            <a:r>
              <a:rPr lang="en-US" altLang="ko-KR" sz="900">
                <a:solidFill>
                  <a:srgbClr val="000000"/>
                </a:solidFill>
              </a:rPr>
              <a:t>, </a:t>
            </a:r>
            <a:r>
              <a:rPr lang="ko-KR" altLang="en-US" sz="900">
                <a:solidFill>
                  <a:srgbClr val="000000"/>
                </a:solidFill>
              </a:rPr>
              <a:t>화장품</a:t>
            </a:r>
            <a:r>
              <a:rPr lang="en-US" altLang="ko-KR" sz="900">
                <a:solidFill>
                  <a:srgbClr val="000000"/>
                </a:solidFill>
              </a:rPr>
              <a:t>, </a:t>
            </a:r>
            <a:r>
              <a:rPr lang="ko-KR" altLang="en-US" sz="900">
                <a:solidFill>
                  <a:srgbClr val="000000"/>
                </a:solidFill>
              </a:rPr>
              <a:t>인삼</a:t>
            </a:r>
            <a:r>
              <a:rPr lang="en-US" altLang="ko-KR" sz="900">
                <a:solidFill>
                  <a:srgbClr val="000000"/>
                </a:solidFill>
              </a:rPr>
              <a:t>)</a:t>
            </a:r>
            <a:r>
              <a:rPr lang="ko-KR" altLang="en-US" sz="900">
                <a:solidFill>
                  <a:srgbClr val="000000"/>
                </a:solidFill>
              </a:rPr>
              <a:t>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endParaRPr>
          </a:p>
        </p:txBody>
      </p:sp>
      <p:sp>
        <p:nvSpPr>
          <p:cNvPr id="194" name="자유형 193"/>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95" name="자유형 194"/>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6" name="자유형 195"/>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7" name="자유형 196"/>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8" name="자유형 197"/>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9" name="자유형 198"/>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0" name="자유형 199"/>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1" name="자유형 200"/>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2" name="자유형 201"/>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3" name="자유형 202"/>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4" name="자유형 203"/>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5" name="자유형 204"/>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6" name="자유형 205"/>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7" name="자유형 206"/>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8" name="자유형 207"/>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47" name="자유형 246"/>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48" name="자유형 247"/>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49" name="자유형 248"/>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50" name="자유형 249"/>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51" name="자유형 250"/>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52" name="TextBox 251"/>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53" name="TextBox 252"/>
          <p:cNvSpPr txBox="1"/>
          <p:nvPr/>
        </p:nvSpPr>
        <p:spPr>
          <a:xfrm>
            <a:off x="921753" y="434918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54" name="TextBox 253"/>
          <p:cNvSpPr txBox="1"/>
          <p:nvPr/>
        </p:nvSpPr>
        <p:spPr>
          <a:xfrm>
            <a:off x="904168" y="530001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55" name="TextBox 254"/>
          <p:cNvSpPr txBox="1"/>
          <p:nvPr/>
        </p:nvSpPr>
        <p:spPr>
          <a:xfrm>
            <a:off x="1469844" y="51571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56" name="TextBox 255"/>
          <p:cNvSpPr txBox="1"/>
          <p:nvPr/>
        </p:nvSpPr>
        <p:spPr>
          <a:xfrm>
            <a:off x="1260686" y="384409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57" name="TextBox 256"/>
          <p:cNvSpPr txBox="1"/>
          <p:nvPr/>
        </p:nvSpPr>
        <p:spPr>
          <a:xfrm>
            <a:off x="1835696" y="37530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58" name="TextBox 257"/>
          <p:cNvSpPr txBox="1"/>
          <p:nvPr/>
        </p:nvSpPr>
        <p:spPr>
          <a:xfrm>
            <a:off x="2357937" y="3573016"/>
            <a:ext cx="1457979"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59" name="TextBox 258"/>
          <p:cNvSpPr txBox="1"/>
          <p:nvPr/>
        </p:nvSpPr>
        <p:spPr>
          <a:xfrm>
            <a:off x="3411304" y="380047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60" name="TextBox 259"/>
          <p:cNvSpPr txBox="1"/>
          <p:nvPr/>
        </p:nvSpPr>
        <p:spPr>
          <a:xfrm>
            <a:off x="4145120" y="343956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61" name="TextBox 260"/>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62" name="TextBox 261"/>
          <p:cNvSpPr txBox="1"/>
          <p:nvPr/>
        </p:nvSpPr>
        <p:spPr>
          <a:xfrm>
            <a:off x="4694139" y="388009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63" name="TextBox 262"/>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64" name="TextBox 263"/>
          <p:cNvSpPr txBox="1"/>
          <p:nvPr/>
        </p:nvSpPr>
        <p:spPr>
          <a:xfrm>
            <a:off x="3311860" y="457744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65" name="TextBox 264"/>
          <p:cNvSpPr txBox="1"/>
          <p:nvPr/>
        </p:nvSpPr>
        <p:spPr>
          <a:xfrm>
            <a:off x="2261291" y="4880241"/>
            <a:ext cx="117089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
        <p:nvSpPr>
          <p:cNvPr id="288" name="자유형 287"/>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0" name="타원 289"/>
          <p:cNvSpPr/>
          <p:nvPr/>
        </p:nvSpPr>
        <p:spPr>
          <a:xfrm>
            <a:off x="1115616" y="246809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1" name="직사각형 290"/>
          <p:cNvSpPr/>
          <p:nvPr/>
        </p:nvSpPr>
        <p:spPr>
          <a:xfrm>
            <a:off x="2037014" y="246809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2" name="이등변 삼각형 291"/>
          <p:cNvSpPr/>
          <p:nvPr/>
        </p:nvSpPr>
        <p:spPr>
          <a:xfrm>
            <a:off x="2964359" y="246809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3" name="TextBox 292"/>
          <p:cNvSpPr txBox="1"/>
          <p:nvPr/>
        </p:nvSpPr>
        <p:spPr>
          <a:xfrm>
            <a:off x="1249364"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94" name="TextBox 293"/>
          <p:cNvSpPr txBox="1"/>
          <p:nvPr/>
        </p:nvSpPr>
        <p:spPr>
          <a:xfrm>
            <a:off x="2155354"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295" name="TextBox 294"/>
          <p:cNvSpPr txBox="1"/>
          <p:nvPr/>
        </p:nvSpPr>
        <p:spPr>
          <a:xfrm>
            <a:off x="3067291"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296" name="TextBox 295"/>
          <p:cNvSpPr txBox="1"/>
          <p:nvPr/>
        </p:nvSpPr>
        <p:spPr>
          <a:xfrm>
            <a:off x="3967391"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4</a:t>
            </a:r>
            <a:r>
              <a:rPr lang="ko-KR" altLang="en-US" sz="1050">
                <a:solidFill>
                  <a:srgbClr val="000000"/>
                </a:solidFill>
                <a:cs typeface="Arial Narrow" pitchFamily="34" charset="0"/>
              </a:rPr>
              <a:t>일차 방문지</a:t>
            </a:r>
          </a:p>
        </p:txBody>
      </p:sp>
      <p:sp>
        <p:nvSpPr>
          <p:cNvPr id="297" name="다이아몬드 296"/>
          <p:cNvSpPr/>
          <p:nvPr/>
        </p:nvSpPr>
        <p:spPr>
          <a:xfrm>
            <a:off x="3847843" y="2468099"/>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 name="육각형 7"/>
          <p:cNvSpPr/>
          <p:nvPr/>
        </p:nvSpPr>
        <p:spPr>
          <a:xfrm>
            <a:off x="4782020" y="2468099"/>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8" name="TextBox 297"/>
          <p:cNvSpPr txBox="1"/>
          <p:nvPr/>
        </p:nvSpPr>
        <p:spPr>
          <a:xfrm>
            <a:off x="4896124"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5</a:t>
            </a:r>
            <a:r>
              <a:rPr lang="ko-KR" altLang="en-US" sz="1050">
                <a:solidFill>
                  <a:srgbClr val="000000"/>
                </a:solidFill>
                <a:cs typeface="Arial Narrow" pitchFamily="34" charset="0"/>
              </a:rPr>
              <a:t>일차 방문지</a:t>
            </a:r>
          </a:p>
        </p:txBody>
      </p:sp>
      <p:sp>
        <p:nvSpPr>
          <p:cNvPr id="299" name="TextBox 298"/>
          <p:cNvSpPr txBox="1"/>
          <p:nvPr/>
        </p:nvSpPr>
        <p:spPr>
          <a:xfrm>
            <a:off x="2853421" y="343240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공룡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0" name="직사각형 299"/>
          <p:cNvSpPr/>
          <p:nvPr/>
        </p:nvSpPr>
        <p:spPr>
          <a:xfrm>
            <a:off x="2879824" y="34671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1" name="TextBox 300"/>
          <p:cNvSpPr txBox="1"/>
          <p:nvPr/>
        </p:nvSpPr>
        <p:spPr>
          <a:xfrm>
            <a:off x="2825776" y="295346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2" name="직사각형 301"/>
          <p:cNvSpPr/>
          <p:nvPr/>
        </p:nvSpPr>
        <p:spPr>
          <a:xfrm>
            <a:off x="2915816" y="313200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3" name="직사각형 302"/>
          <p:cNvSpPr/>
          <p:nvPr/>
        </p:nvSpPr>
        <p:spPr>
          <a:xfrm>
            <a:off x="2555776" y="320401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4" name="TextBox 303"/>
          <p:cNvSpPr txBox="1"/>
          <p:nvPr/>
        </p:nvSpPr>
        <p:spPr>
          <a:xfrm>
            <a:off x="1865559" y="307330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치스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5" name="직사각형 304"/>
          <p:cNvSpPr/>
          <p:nvPr/>
        </p:nvSpPr>
        <p:spPr>
          <a:xfrm>
            <a:off x="1691680" y="483315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6" name="TextBox 305"/>
          <p:cNvSpPr txBox="1"/>
          <p:nvPr/>
        </p:nvSpPr>
        <p:spPr>
          <a:xfrm>
            <a:off x="971600" y="4870031"/>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오설록티</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7" name="TextBox 306"/>
          <p:cNvSpPr txBox="1"/>
          <p:nvPr/>
        </p:nvSpPr>
        <p:spPr>
          <a:xfrm>
            <a:off x="3233615" y="313574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9" name="직사각형 308"/>
          <p:cNvSpPr/>
          <p:nvPr/>
        </p:nvSpPr>
        <p:spPr>
          <a:xfrm>
            <a:off x="3105361" y="320345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1" name="TextBox 310"/>
          <p:cNvSpPr txBox="1"/>
          <p:nvPr/>
        </p:nvSpPr>
        <p:spPr>
          <a:xfrm>
            <a:off x="2438971" y="526937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약천사</a:t>
            </a:r>
          </a:p>
        </p:txBody>
      </p:sp>
      <p:sp>
        <p:nvSpPr>
          <p:cNvPr id="312" name="직사각형 311"/>
          <p:cNvSpPr/>
          <p:nvPr/>
        </p:nvSpPr>
        <p:spPr>
          <a:xfrm>
            <a:off x="1187636" y="46171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3" name="TextBox 312"/>
          <p:cNvSpPr txBox="1"/>
          <p:nvPr/>
        </p:nvSpPr>
        <p:spPr>
          <a:xfrm>
            <a:off x="486594" y="4590653"/>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유리의성</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4" name="TextBox 313"/>
          <p:cNvSpPr txBox="1"/>
          <p:nvPr/>
        </p:nvSpPr>
        <p:spPr>
          <a:xfrm>
            <a:off x="2957997" y="3627457"/>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6" name="직사각형 315"/>
          <p:cNvSpPr/>
          <p:nvPr/>
        </p:nvSpPr>
        <p:spPr>
          <a:xfrm>
            <a:off x="2970301" y="364503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7" name="TextBox 316"/>
          <p:cNvSpPr txBox="1"/>
          <p:nvPr/>
        </p:nvSpPr>
        <p:spPr>
          <a:xfrm>
            <a:off x="2141802" y="353930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롯데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0" name="이등변 삼각형 319"/>
          <p:cNvSpPr/>
          <p:nvPr/>
        </p:nvSpPr>
        <p:spPr>
          <a:xfrm>
            <a:off x="2858128" y="325905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1" name="TextBox 320"/>
          <p:cNvSpPr txBox="1"/>
          <p:nvPr/>
        </p:nvSpPr>
        <p:spPr>
          <a:xfrm>
            <a:off x="4796989" y="414578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2" name="이등변 삼각형 321"/>
          <p:cNvSpPr/>
          <p:nvPr/>
        </p:nvSpPr>
        <p:spPr>
          <a:xfrm>
            <a:off x="5445061" y="405004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3" name="TextBox 322"/>
          <p:cNvSpPr txBox="1"/>
          <p:nvPr/>
        </p:nvSpPr>
        <p:spPr>
          <a:xfrm>
            <a:off x="5665264" y="363496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4" name="이등변 삼각형 323"/>
          <p:cNvSpPr/>
          <p:nvPr/>
        </p:nvSpPr>
        <p:spPr>
          <a:xfrm>
            <a:off x="5597461" y="365398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5" name="TextBox 324"/>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6" name="이등변 삼각형 325"/>
          <p:cNvSpPr/>
          <p:nvPr/>
        </p:nvSpPr>
        <p:spPr>
          <a:xfrm>
            <a:off x="4391980" y="460817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7" name="TextBox 326"/>
          <p:cNvSpPr txBox="1"/>
          <p:nvPr/>
        </p:nvSpPr>
        <p:spPr>
          <a:xfrm>
            <a:off x="3445698" y="336976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캐릭월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9" name="이등변 삼각형 328"/>
          <p:cNvSpPr/>
          <p:nvPr/>
        </p:nvSpPr>
        <p:spPr>
          <a:xfrm>
            <a:off x="3715333" y="352959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0" name="직사각형 329"/>
          <p:cNvSpPr/>
          <p:nvPr/>
        </p:nvSpPr>
        <p:spPr>
          <a:xfrm>
            <a:off x="3032793" y="543625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1" name="TextBox 330"/>
          <p:cNvSpPr txBox="1"/>
          <p:nvPr/>
        </p:nvSpPr>
        <p:spPr>
          <a:xfrm>
            <a:off x="3142753" y="5206184"/>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외돌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2" name="다이아몬드 331"/>
          <p:cNvSpPr/>
          <p:nvPr/>
        </p:nvSpPr>
        <p:spPr>
          <a:xfrm>
            <a:off x="3203860" y="5399707"/>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6" name="TextBox 335"/>
          <p:cNvSpPr txBox="1"/>
          <p:nvPr/>
        </p:nvSpPr>
        <p:spPr>
          <a:xfrm>
            <a:off x="1674726" y="4618563"/>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자동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7" name="다이아몬드 336"/>
          <p:cNvSpPr/>
          <p:nvPr/>
        </p:nvSpPr>
        <p:spPr>
          <a:xfrm>
            <a:off x="1871712" y="4922118"/>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8" name="다이아몬드 337"/>
          <p:cNvSpPr/>
          <p:nvPr/>
        </p:nvSpPr>
        <p:spPr>
          <a:xfrm>
            <a:off x="3753445" y="4878685"/>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9" name="TextBox 338"/>
          <p:cNvSpPr txBox="1"/>
          <p:nvPr/>
        </p:nvSpPr>
        <p:spPr>
          <a:xfrm>
            <a:off x="3579244" y="502468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제주오렌지</a:t>
            </a:r>
          </a:p>
        </p:txBody>
      </p:sp>
      <p:sp>
        <p:nvSpPr>
          <p:cNvPr id="340" name="TextBox 339"/>
          <p:cNvSpPr txBox="1"/>
          <p:nvPr/>
        </p:nvSpPr>
        <p:spPr>
          <a:xfrm>
            <a:off x="1890688" y="558641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2" name="다이아몬드 341"/>
          <p:cNvSpPr/>
          <p:nvPr/>
        </p:nvSpPr>
        <p:spPr>
          <a:xfrm>
            <a:off x="2339764" y="5418757"/>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4" name="TextBox 343"/>
          <p:cNvSpPr txBox="1"/>
          <p:nvPr/>
        </p:nvSpPr>
        <p:spPr>
          <a:xfrm>
            <a:off x="4305098" y="315792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녕미로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5" name="육각형 344"/>
          <p:cNvSpPr/>
          <p:nvPr/>
        </p:nvSpPr>
        <p:spPr>
          <a:xfrm>
            <a:off x="4516946" y="3032968"/>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6" name="TextBox 345"/>
          <p:cNvSpPr txBox="1"/>
          <p:nvPr/>
        </p:nvSpPr>
        <p:spPr>
          <a:xfrm>
            <a:off x="1896171" y="334209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8" name="육각형 347"/>
          <p:cNvSpPr/>
          <p:nvPr/>
        </p:nvSpPr>
        <p:spPr>
          <a:xfrm>
            <a:off x="2682838" y="3294521"/>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49" name="직선 화살표 연결선 348"/>
          <p:cNvCxnSpPr>
            <a:stCxn id="320" idx="3"/>
          </p:cNvCxnSpPr>
          <p:nvPr/>
        </p:nvCxnSpPr>
        <p:spPr>
          <a:xfrm flipH="1">
            <a:off x="2765098" y="3367053"/>
            <a:ext cx="147030" cy="174720"/>
          </a:xfrm>
          <a:prstGeom prst="straightConnector1">
            <a:avLst/>
          </a:prstGeom>
          <a:ln w="9525">
            <a:solidFill>
              <a:srgbClr val="33CC33"/>
            </a:solidFill>
            <a:tailEnd type="arrow"/>
          </a:ln>
        </p:spPr>
        <p:style>
          <a:lnRef idx="1">
            <a:schemeClr val="accent1"/>
          </a:lnRef>
          <a:fillRef idx="0">
            <a:schemeClr val="accent1"/>
          </a:fillRef>
          <a:effectRef idx="0">
            <a:schemeClr val="accent1"/>
          </a:effectRef>
          <a:fontRef idx="minor">
            <a:schemeClr val="tx1"/>
          </a:fontRef>
        </p:style>
      </p:cxnSp>
      <p:sp>
        <p:nvSpPr>
          <p:cNvPr id="350" name="TextBox 349"/>
          <p:cNvSpPr txBox="1"/>
          <p:nvPr/>
        </p:nvSpPr>
        <p:spPr>
          <a:xfrm>
            <a:off x="2969816" y="398030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2" name="육각형 351"/>
          <p:cNvSpPr/>
          <p:nvPr/>
        </p:nvSpPr>
        <p:spPr>
          <a:xfrm>
            <a:off x="3014315" y="3861060"/>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4" name="TextBox 353"/>
          <p:cNvSpPr txBox="1"/>
          <p:nvPr/>
        </p:nvSpPr>
        <p:spPr>
          <a:xfrm>
            <a:off x="2338079" y="3828176"/>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5" name="육각형 354"/>
          <p:cNvSpPr/>
          <p:nvPr/>
        </p:nvSpPr>
        <p:spPr>
          <a:xfrm>
            <a:off x="2872383" y="3736094"/>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6" name="TextBox 355"/>
          <p:cNvSpPr txBox="1"/>
          <p:nvPr/>
        </p:nvSpPr>
        <p:spPr>
          <a:xfrm>
            <a:off x="2267832" y="289994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8" name="육각형 357"/>
          <p:cNvSpPr/>
          <p:nvPr/>
        </p:nvSpPr>
        <p:spPr>
          <a:xfrm>
            <a:off x="2718854" y="3088022"/>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1" name="TextBox 360"/>
          <p:cNvSpPr txBox="1"/>
          <p:nvPr/>
        </p:nvSpPr>
        <p:spPr>
          <a:xfrm>
            <a:off x="1295636" y="407707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트릭아이</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3" name="육각형 362"/>
          <p:cNvSpPr/>
          <p:nvPr/>
        </p:nvSpPr>
        <p:spPr>
          <a:xfrm>
            <a:off x="1979712" y="4274058"/>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graphicFrame>
        <p:nvGraphicFramePr>
          <p:cNvPr id="369" name="차트 368"/>
          <p:cNvGraphicFramePr/>
          <p:nvPr>
            <p:extLst>
              <p:ext uri="{D42A27DB-BD31-4B8C-83A1-F6EECF244321}">
                <p14:modId xmlns:p14="http://schemas.microsoft.com/office/powerpoint/2010/main" val="3811221733"/>
              </p:ext>
            </p:extLst>
          </p:nvPr>
        </p:nvGraphicFramePr>
        <p:xfrm>
          <a:off x="6660232" y="2280012"/>
          <a:ext cx="2268252" cy="3921296"/>
        </p:xfrm>
        <a:graphic>
          <a:graphicData uri="http://schemas.openxmlformats.org/drawingml/2006/chart">
            <c:chart xmlns:c="http://schemas.openxmlformats.org/drawingml/2006/chart" xmlns:r="http://schemas.openxmlformats.org/officeDocument/2006/relationships" r:id="rId3"/>
          </a:graphicData>
        </a:graphic>
      </p:graphicFrame>
      <p:sp>
        <p:nvSpPr>
          <p:cNvPr id="370" name="타원 369"/>
          <p:cNvSpPr/>
          <p:nvPr/>
        </p:nvSpPr>
        <p:spPr>
          <a:xfrm>
            <a:off x="6658136" y="5445240"/>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1" name="타원 370"/>
          <p:cNvSpPr/>
          <p:nvPr/>
        </p:nvSpPr>
        <p:spPr>
          <a:xfrm>
            <a:off x="6658136" y="514297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2" name="타원 371"/>
          <p:cNvSpPr/>
          <p:nvPr/>
        </p:nvSpPr>
        <p:spPr>
          <a:xfrm>
            <a:off x="6658136" y="4346984"/>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3" name="타원 372"/>
          <p:cNvSpPr/>
          <p:nvPr/>
        </p:nvSpPr>
        <p:spPr>
          <a:xfrm>
            <a:off x="6658136" y="419462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4" name="타원 373"/>
          <p:cNvSpPr/>
          <p:nvPr/>
        </p:nvSpPr>
        <p:spPr>
          <a:xfrm>
            <a:off x="6658136" y="4499343"/>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5" name="TextBox 374"/>
          <p:cNvSpPr txBox="1"/>
          <p:nvPr/>
        </p:nvSpPr>
        <p:spPr>
          <a:xfrm>
            <a:off x="7907807"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376" name="TextBox 375"/>
          <p:cNvSpPr txBox="1"/>
          <p:nvPr/>
        </p:nvSpPr>
        <p:spPr>
          <a:xfrm>
            <a:off x="7344308"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109" name="타원 108"/>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5</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427569405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자유형 87"/>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4" name="자유형 133"/>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국적별 코스 비교 분석</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내국인과 중국인 각각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중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 상품 이상에 포함되는 </a:t>
            </a:r>
            <a:r>
              <a:rPr lang="en-US" altLang="ko-KR" sz="1600" spc="100">
                <a:ln>
                  <a:solidFill>
                    <a:prstClr val="black">
                      <a:alpha val="20000"/>
                    </a:prstClr>
                  </a:solidFill>
                </a:ln>
                <a:solidFill>
                  <a:srgbClr val="000000"/>
                </a:solidFill>
                <a:latin typeface="NOVA Bold"/>
                <a:ea typeface="NOVA Bold"/>
                <a:cs typeface="Arial" pitchFamily="34" charset="0"/>
              </a:rPr>
              <a:t>17</a:t>
            </a:r>
            <a:r>
              <a:rPr lang="ko-KR" altLang="en-US" sz="1600" spc="100">
                <a:ln>
                  <a:solidFill>
                    <a:prstClr val="black">
                      <a:alpha val="20000"/>
                    </a:prstClr>
                  </a:solidFill>
                </a:ln>
                <a:solidFill>
                  <a:srgbClr val="000000"/>
                </a:solidFill>
                <a:latin typeface="NOVA Bold"/>
                <a:ea typeface="NOVA Bold"/>
                <a:cs typeface="Arial" pitchFamily="34" charset="0"/>
              </a:rPr>
              <a:t>개 관광지</a:t>
            </a:r>
            <a:r>
              <a:rPr lang="en-US" altLang="ko-KR" sz="1400" spc="100">
                <a:ln>
                  <a:solidFill>
                    <a:prstClr val="black">
                      <a:alpha val="20000"/>
                    </a:prstClr>
                  </a:solidFill>
                </a:ln>
                <a:solidFill>
                  <a:srgbClr val="000000"/>
                </a:solidFill>
                <a:latin typeface="NOVA Bold"/>
                <a:ea typeface="NOVA Bold"/>
                <a:cs typeface="Arial" pitchFamily="34" charset="0"/>
              </a:rPr>
              <a:t>(</a:t>
            </a:r>
            <a:r>
              <a:rPr lang="ko-KR" altLang="en-US" sz="1400" spc="100">
                <a:ln>
                  <a:solidFill>
                    <a:prstClr val="black">
                      <a:alpha val="20000"/>
                    </a:prstClr>
                  </a:solidFill>
                </a:ln>
                <a:solidFill>
                  <a:srgbClr val="000000"/>
                </a:solidFill>
                <a:latin typeface="NOVA Bold"/>
                <a:ea typeface="NOVA Bold"/>
                <a:cs typeface="Arial" pitchFamily="34" charset="0"/>
              </a:rPr>
              <a:t>내국인 </a:t>
            </a:r>
            <a:r>
              <a:rPr lang="en-US" altLang="ko-KR" sz="1400" spc="100">
                <a:ln>
                  <a:solidFill>
                    <a:prstClr val="black">
                      <a:alpha val="20000"/>
                    </a:prstClr>
                  </a:solidFill>
                </a:ln>
                <a:solidFill>
                  <a:srgbClr val="000000"/>
                </a:solidFill>
                <a:latin typeface="NOVA Bold"/>
                <a:ea typeface="NOVA Bold"/>
                <a:cs typeface="Arial" pitchFamily="34" charset="0"/>
              </a:rPr>
              <a:t>9</a:t>
            </a:r>
            <a:r>
              <a:rPr lang="ko-KR" altLang="en-US" sz="1400" spc="100">
                <a:ln>
                  <a:solidFill>
                    <a:prstClr val="black">
                      <a:alpha val="20000"/>
                    </a:prstClr>
                  </a:solidFill>
                </a:ln>
                <a:solidFill>
                  <a:srgbClr val="000000"/>
                </a:solidFill>
                <a:latin typeface="NOVA Bold"/>
                <a:ea typeface="NOVA Bold"/>
                <a:cs typeface="Arial" pitchFamily="34" charset="0"/>
              </a:rPr>
              <a:t>개</a:t>
            </a:r>
            <a:r>
              <a:rPr lang="en-US" altLang="ko-KR" sz="1400" spc="100">
                <a:ln>
                  <a:solidFill>
                    <a:prstClr val="black">
                      <a:alpha val="20000"/>
                    </a:prstClr>
                  </a:solidFill>
                </a:ln>
                <a:solidFill>
                  <a:srgbClr val="000000"/>
                </a:solidFill>
                <a:latin typeface="NOVA Bold"/>
                <a:ea typeface="NOVA Bold"/>
                <a:cs typeface="Arial" pitchFamily="34" charset="0"/>
              </a:rPr>
              <a:t>, </a:t>
            </a:r>
            <a:r>
              <a:rPr lang="ko-KR" altLang="en-US" sz="1400" spc="100">
                <a:ln>
                  <a:solidFill>
                    <a:prstClr val="black">
                      <a:alpha val="20000"/>
                    </a:prstClr>
                  </a:solidFill>
                </a:ln>
                <a:solidFill>
                  <a:srgbClr val="000000"/>
                </a:solidFill>
                <a:latin typeface="NOVA Bold"/>
                <a:ea typeface="NOVA Bold"/>
                <a:cs typeface="Arial" pitchFamily="34" charset="0"/>
              </a:rPr>
              <a:t>중국인 </a:t>
            </a:r>
            <a:r>
              <a:rPr lang="en-US" altLang="ko-KR" sz="1400" spc="100">
                <a:ln>
                  <a:solidFill>
                    <a:prstClr val="black">
                      <a:alpha val="20000"/>
                    </a:prstClr>
                  </a:solidFill>
                </a:ln>
                <a:solidFill>
                  <a:srgbClr val="000000"/>
                </a:solidFill>
                <a:latin typeface="NOVA Bold"/>
                <a:ea typeface="NOVA Bold"/>
                <a:cs typeface="Arial" pitchFamily="34" charset="0"/>
              </a:rPr>
              <a:t>19</a:t>
            </a:r>
            <a:r>
              <a:rPr lang="ko-KR" altLang="en-US" sz="1400" spc="100">
                <a:ln>
                  <a:solidFill>
                    <a:prstClr val="black">
                      <a:alpha val="20000"/>
                    </a:prstClr>
                  </a:solidFill>
                </a:ln>
                <a:solidFill>
                  <a:srgbClr val="000000"/>
                </a:solidFill>
                <a:latin typeface="NOVA Bold"/>
                <a:ea typeface="NOVA Bold"/>
                <a:cs typeface="Arial" pitchFamily="34" charset="0"/>
              </a:rPr>
              <a:t>개</a:t>
            </a:r>
            <a:r>
              <a:rPr lang="en-US" altLang="ko-KR" sz="14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 관광지</a:t>
            </a:r>
            <a:r>
              <a:rPr lang="en-US" altLang="ko-KR" sz="1400" spc="100">
                <a:ln>
                  <a:solidFill>
                    <a:prstClr val="black">
                      <a:alpha val="20000"/>
                    </a:prstClr>
                  </a:solidFill>
                </a:ln>
                <a:solidFill>
                  <a:srgbClr val="000000"/>
                </a:solidFill>
                <a:latin typeface="NOVA Bold"/>
                <a:ea typeface="NOVA Bold"/>
                <a:cs typeface="Arial" pitchFamily="34" charset="0"/>
              </a:rPr>
              <a:t>(</a:t>
            </a:r>
            <a:r>
              <a:rPr lang="ko-KR" altLang="en-US" sz="1400" spc="100">
                <a:ln>
                  <a:solidFill>
                    <a:prstClr val="black">
                      <a:alpha val="20000"/>
                    </a:prstClr>
                  </a:solidFill>
                </a:ln>
                <a:solidFill>
                  <a:srgbClr val="000000"/>
                </a:solidFill>
                <a:latin typeface="NOVA Bold"/>
                <a:ea typeface="NOVA Bold"/>
                <a:cs typeface="Arial" pitchFamily="34" charset="0"/>
              </a:rPr>
              <a:t>용두암</a:t>
            </a:r>
            <a:r>
              <a:rPr lang="en-US" altLang="ko-KR" sz="1400" spc="100">
                <a:ln>
                  <a:solidFill>
                    <a:prstClr val="black">
                      <a:alpha val="20000"/>
                    </a:prstClr>
                  </a:solidFill>
                </a:ln>
                <a:solidFill>
                  <a:srgbClr val="000000"/>
                </a:solidFill>
                <a:latin typeface="NOVA Bold"/>
                <a:ea typeface="NOVA Bold"/>
                <a:cs typeface="Arial" pitchFamily="34" charset="0"/>
              </a:rPr>
              <a:t>, </a:t>
            </a:r>
            <a:r>
              <a:rPr lang="ko-KR" altLang="en-US" sz="1400" spc="100">
                <a:ln>
                  <a:solidFill>
                    <a:prstClr val="black">
                      <a:alpha val="20000"/>
                    </a:prstClr>
                  </a:solidFill>
                </a:ln>
                <a:solidFill>
                  <a:srgbClr val="000000"/>
                </a:solidFill>
                <a:latin typeface="NOVA Bold"/>
                <a:ea typeface="NOVA Bold"/>
                <a:cs typeface="Arial" pitchFamily="34" charset="0"/>
              </a:rPr>
              <a:t>성읍민속마을</a:t>
            </a:r>
            <a:r>
              <a:rPr lang="en-US" altLang="ko-KR" sz="14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만이 중복되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적별 주요 관광지가 다르게 나타남</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3" name="모서리가 둥근 직사각형 62"/>
          <p:cNvSpPr/>
          <p:nvPr/>
        </p:nvSpPr>
        <p:spPr>
          <a:xfrm>
            <a:off x="6403812" y="2356732"/>
            <a:ext cx="2340260" cy="360000"/>
          </a:xfrm>
          <a:prstGeom prst="roundRect">
            <a:avLst/>
          </a:prstGeom>
          <a:solidFill>
            <a:srgbClr val="003366"/>
          </a:solidFill>
          <a:ln w="12700" algn="ctr">
            <a:solidFill>
              <a:schemeClr val="bg1">
                <a:lumMod val="75000"/>
              </a:schemeClr>
            </a:solidFill>
            <a:miter lim="800000"/>
          </a:ln>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관광지 비중 분포</a:t>
            </a:r>
          </a:p>
        </p:txBody>
      </p:sp>
      <p:sp>
        <p:nvSpPr>
          <p:cNvPr id="66" name="직사각형 65"/>
          <p:cNvSpPr/>
          <p:nvPr/>
        </p:nvSpPr>
        <p:spPr>
          <a:xfrm>
            <a:off x="6403812" y="4977288"/>
            <a:ext cx="2340260" cy="1044000"/>
          </a:xfrm>
          <a:prstGeom prst="rect">
            <a:avLst/>
          </a:prstGeom>
          <a:noFill/>
          <a:ln w="38100">
            <a:noFill/>
          </a:ln>
        </p:spPr>
        <p:txBody>
          <a:bodyPr wrap="square" lIns="36000" tIns="36000" rIns="36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196850" latinLnBrk="0">
              <a:lnSpc>
                <a:spcPct val="140000"/>
              </a:lnSpc>
              <a:buFont typeface="Wingdings" pitchFamily="2" charset="2"/>
              <a:buChar char="v"/>
            </a:pPr>
            <a:r>
              <a:rPr lang="ko-KR" altLang="en-US" sz="1300" spc="-60">
                <a:solidFill>
                  <a:srgbClr val="000000">
                    <a:lumMod val="65000"/>
                    <a:lumOff val="35000"/>
                  </a:srgbClr>
                </a:solidFill>
                <a:latin typeface="NOVA Bold" panose="00000800000000000000" pitchFamily="2" charset="-127"/>
                <a:ea typeface="NOVA Bold" panose="00000800000000000000" pitchFamily="2" charset="-127"/>
              </a:rPr>
              <a:t>중국인 관광객은 자연경관</a:t>
            </a:r>
            <a:r>
              <a:rPr lang="en-US" altLang="ko-KR" sz="1300" spc="-60">
                <a:solidFill>
                  <a:srgbClr val="000000">
                    <a:lumMod val="65000"/>
                    <a:lumOff val="35000"/>
                  </a:srgbClr>
                </a:solidFill>
                <a:latin typeface="NOVA Bold" panose="00000800000000000000" pitchFamily="2" charset="-127"/>
                <a:ea typeface="NOVA Bold" panose="00000800000000000000" pitchFamily="2" charset="-127"/>
              </a:rPr>
              <a:t>, </a:t>
            </a:r>
            <a:r>
              <a:rPr lang="ko-KR" altLang="en-US" sz="1300" spc="-60">
                <a:solidFill>
                  <a:srgbClr val="000000">
                    <a:lumMod val="65000"/>
                    <a:lumOff val="35000"/>
                  </a:srgbClr>
                </a:solidFill>
                <a:latin typeface="NOVA Bold" panose="00000800000000000000" pitchFamily="2" charset="-127"/>
                <a:ea typeface="NOVA Bold" panose="00000800000000000000" pitchFamily="2" charset="-127"/>
              </a:rPr>
              <a:t>내국인 관광객은 실외테마파크 방문 비중이 상대적으로 높음</a:t>
            </a:r>
            <a:endParaRPr lang="en-US" altLang="ko-KR" sz="1300" spc="-60">
              <a:solidFill>
                <a:srgbClr val="000000">
                  <a:lumMod val="65000"/>
                  <a:lumOff val="35000"/>
                </a:srgbClr>
              </a:solidFill>
              <a:latin typeface="NOVA Bold" panose="00000800000000000000" pitchFamily="2" charset="-127"/>
              <a:ea typeface="NOVA Bold" panose="00000800000000000000" pitchFamily="2" charset="-127"/>
            </a:endParaRPr>
          </a:p>
        </p:txBody>
      </p:sp>
      <p:sp>
        <p:nvSpPr>
          <p:cNvPr id="61" name="TextBox 60"/>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단체 관광 코스 내 주요 방문지 비교</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62" name="타원 61"/>
          <p:cNvSpPr/>
          <p:nvPr/>
        </p:nvSpPr>
        <p:spPr>
          <a:xfrm>
            <a:off x="1835696" y="2462243"/>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1" name="직사각형 70"/>
          <p:cNvSpPr/>
          <p:nvPr/>
        </p:nvSpPr>
        <p:spPr>
          <a:xfrm>
            <a:off x="3311860" y="2462243"/>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3" name="TextBox 72"/>
          <p:cNvSpPr txBox="1"/>
          <p:nvPr/>
        </p:nvSpPr>
        <p:spPr>
          <a:xfrm>
            <a:off x="1969444" y="2456892"/>
            <a:ext cx="1368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내국인 방문 관광지 </a:t>
            </a:r>
          </a:p>
        </p:txBody>
      </p:sp>
      <p:sp>
        <p:nvSpPr>
          <p:cNvPr id="74" name="TextBox 73"/>
          <p:cNvSpPr txBox="1"/>
          <p:nvPr/>
        </p:nvSpPr>
        <p:spPr>
          <a:xfrm>
            <a:off x="3446351" y="2456892"/>
            <a:ext cx="1368000" cy="1454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중국인 방문 관광지 </a:t>
            </a:r>
          </a:p>
        </p:txBody>
      </p:sp>
      <p:sp>
        <p:nvSpPr>
          <p:cNvPr id="76" name="자유형 75"/>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77" name="자유형 76"/>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8" name="자유형 77"/>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9" name="자유형 78"/>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0" name="자유형 79"/>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1" name="자유형 80"/>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2" name="자유형 81"/>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3" name="자유형 82"/>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4" name="자유형 83"/>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5" name="자유형 84"/>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6" name="자유형 85"/>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7" name="자유형 86"/>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9" name="자유형 88"/>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1" name="자유형 90"/>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2" name="자유형 91"/>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3" name="자유형 92"/>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4" name="자유형 93"/>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5" name="자유형 94"/>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6" name="TextBox 95"/>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97" name="TextBox 96"/>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98" name="TextBox 97"/>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99" name="TextBox 98"/>
          <p:cNvSpPr txBox="1"/>
          <p:nvPr/>
        </p:nvSpPr>
        <p:spPr>
          <a:xfrm>
            <a:off x="1606049" y="46531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100" name="TextBox 99"/>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101" name="TextBox 100"/>
          <p:cNvSpPr txBox="1"/>
          <p:nvPr/>
        </p:nvSpPr>
        <p:spPr>
          <a:xfrm>
            <a:off x="2231740" y="411307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102" name="TextBox 101"/>
          <p:cNvSpPr txBox="1"/>
          <p:nvPr/>
        </p:nvSpPr>
        <p:spPr>
          <a:xfrm>
            <a:off x="2419380" y="3479229"/>
            <a:ext cx="1284827"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103" name="TextBox 102"/>
          <p:cNvSpPr txBox="1"/>
          <p:nvPr/>
        </p:nvSpPr>
        <p:spPr>
          <a:xfrm>
            <a:off x="3460107" y="339299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104" name="TextBox 103"/>
          <p:cNvSpPr txBox="1"/>
          <p:nvPr/>
        </p:nvSpPr>
        <p:spPr>
          <a:xfrm>
            <a:off x="4215742" y="308319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105" name="TextBox 104"/>
          <p:cNvSpPr txBox="1"/>
          <p:nvPr/>
        </p:nvSpPr>
        <p:spPr>
          <a:xfrm>
            <a:off x="5450409" y="308915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106" name="TextBox 105"/>
          <p:cNvSpPr txBox="1"/>
          <p:nvPr/>
        </p:nvSpPr>
        <p:spPr>
          <a:xfrm>
            <a:off x="4694139" y="387160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107" name="TextBox 106"/>
          <p:cNvSpPr txBox="1"/>
          <p:nvPr/>
        </p:nvSpPr>
        <p:spPr>
          <a:xfrm>
            <a:off x="3848781" y="413997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108" name="TextBox 107"/>
          <p:cNvSpPr txBox="1"/>
          <p:nvPr/>
        </p:nvSpPr>
        <p:spPr>
          <a:xfrm>
            <a:off x="3497828" y="47591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132" name="자유형 131"/>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3" name="포인트가 5개인 별 2"/>
          <p:cNvSpPr/>
          <p:nvPr/>
        </p:nvSpPr>
        <p:spPr>
          <a:xfrm>
            <a:off x="4814351" y="2411284"/>
            <a:ext cx="180000" cy="180000"/>
          </a:xfrm>
          <a:prstGeom prst="star5">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3" name="TextBox 132"/>
          <p:cNvSpPr txBox="1"/>
          <p:nvPr/>
        </p:nvSpPr>
        <p:spPr>
          <a:xfrm>
            <a:off x="5013573" y="2452852"/>
            <a:ext cx="1368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공통</a:t>
            </a:r>
          </a:p>
        </p:txBody>
      </p:sp>
      <p:sp>
        <p:nvSpPr>
          <p:cNvPr id="52" name="TextBox 51"/>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주요 관광지는 내국인 관광 상품 </a:t>
            </a:r>
            <a:r>
              <a:rPr lang="en-US" altLang="ko-KR" sz="900">
                <a:solidFill>
                  <a:srgbClr val="000000"/>
                </a:solidFill>
              </a:rPr>
              <a:t>10</a:t>
            </a:r>
            <a:r>
              <a:rPr lang="ko-KR" altLang="en-US" sz="900">
                <a:solidFill>
                  <a:srgbClr val="000000"/>
                </a:solidFill>
              </a:rPr>
              <a:t>개와 중국인 관광상품 </a:t>
            </a:r>
            <a:r>
              <a:rPr lang="en-US" altLang="ko-KR" sz="900">
                <a:solidFill>
                  <a:srgbClr val="000000"/>
                </a:solidFill>
              </a:rPr>
              <a:t>17</a:t>
            </a:r>
            <a:r>
              <a:rPr lang="ko-KR" altLang="en-US" sz="900">
                <a:solidFill>
                  <a:srgbClr val="000000"/>
                </a:solidFill>
              </a:rPr>
              <a:t>개</a:t>
            </a:r>
            <a:r>
              <a:rPr lang="en-US" altLang="ko-KR" sz="900">
                <a:solidFill>
                  <a:srgbClr val="000000"/>
                </a:solidFill>
              </a:rPr>
              <a:t>(</a:t>
            </a:r>
            <a:r>
              <a:rPr lang="ko-KR" altLang="en-US" sz="900">
                <a:solidFill>
                  <a:srgbClr val="000000"/>
                </a:solidFill>
              </a:rPr>
              <a:t>크루즈 제외</a:t>
            </a:r>
            <a:r>
              <a:rPr lang="en-US" altLang="ko-KR" sz="900">
                <a:solidFill>
                  <a:srgbClr val="000000"/>
                </a:solidFill>
              </a:rPr>
              <a:t>)</a:t>
            </a:r>
            <a:r>
              <a:rPr lang="ko-KR" altLang="en-US" sz="900">
                <a:solidFill>
                  <a:srgbClr val="000000"/>
                </a:solidFill>
              </a:rPr>
              <a:t>에서 </a:t>
            </a:r>
            <a:r>
              <a:rPr lang="en-US" altLang="ko-KR" sz="900">
                <a:solidFill>
                  <a:srgbClr val="000000"/>
                </a:solidFill>
              </a:rPr>
              <a:t>1/3</a:t>
            </a:r>
            <a:r>
              <a:rPr lang="ko-KR" altLang="en-US" sz="900">
                <a:solidFill>
                  <a:srgbClr val="000000"/>
                </a:solidFill>
              </a:rPr>
              <a:t>의 빈도로 방문하는 곳</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쇼핑 코스</a:t>
            </a:r>
            <a:r>
              <a:rPr lang="en-US" altLang="ko-KR" sz="900">
                <a:solidFill>
                  <a:srgbClr val="000000"/>
                </a:solidFill>
              </a:rPr>
              <a:t>(</a:t>
            </a:r>
            <a:r>
              <a:rPr lang="ko-KR" altLang="en-US" sz="900">
                <a:solidFill>
                  <a:srgbClr val="000000"/>
                </a:solidFill>
              </a:rPr>
              <a:t>농수산물센터</a:t>
            </a:r>
            <a:r>
              <a:rPr lang="en-US" altLang="ko-KR" sz="900">
                <a:solidFill>
                  <a:srgbClr val="000000"/>
                </a:solidFill>
              </a:rPr>
              <a:t>, </a:t>
            </a:r>
            <a:r>
              <a:rPr lang="ko-KR" altLang="en-US" sz="900">
                <a:solidFill>
                  <a:srgbClr val="000000"/>
                </a:solidFill>
              </a:rPr>
              <a:t>관광농원</a:t>
            </a:r>
            <a:r>
              <a:rPr lang="en-US" altLang="ko-KR" sz="900">
                <a:solidFill>
                  <a:srgbClr val="000000"/>
                </a:solidFill>
              </a:rPr>
              <a:t>, </a:t>
            </a:r>
            <a:r>
              <a:rPr lang="ko-KR" altLang="en-US" sz="900">
                <a:solidFill>
                  <a:srgbClr val="000000"/>
                </a:solidFill>
              </a:rPr>
              <a:t>허브매장</a:t>
            </a:r>
            <a:r>
              <a:rPr lang="en-US" altLang="ko-KR" sz="900">
                <a:solidFill>
                  <a:srgbClr val="000000"/>
                </a:solidFill>
              </a:rPr>
              <a:t>), </a:t>
            </a:r>
            <a:r>
              <a:rPr lang="ko-KR" altLang="en-US" sz="900">
                <a:solidFill>
                  <a:srgbClr val="000000"/>
                </a:solidFill>
              </a:rPr>
              <a:t>특정 장소가 지정되지 않은 레포츠 코스</a:t>
            </a:r>
            <a:r>
              <a:rPr lang="en-US" altLang="ko-KR" sz="900">
                <a:solidFill>
                  <a:srgbClr val="000000"/>
                </a:solidFill>
              </a:rPr>
              <a:t>(</a:t>
            </a:r>
            <a:r>
              <a:rPr lang="ko-KR" altLang="en-US" sz="900">
                <a:solidFill>
                  <a:srgbClr val="000000"/>
                </a:solidFill>
              </a:rPr>
              <a:t>한라산</a:t>
            </a:r>
            <a:r>
              <a:rPr lang="en-US" altLang="ko-KR" sz="900">
                <a:solidFill>
                  <a:srgbClr val="000000"/>
                </a:solidFill>
              </a:rPr>
              <a:t>, </a:t>
            </a:r>
            <a:r>
              <a:rPr lang="ko-KR" altLang="en-US" sz="900">
                <a:solidFill>
                  <a:srgbClr val="000000"/>
                </a:solidFill>
              </a:rPr>
              <a:t>승마체험장</a:t>
            </a:r>
            <a:r>
              <a:rPr lang="en-US" altLang="ko-KR" sz="900">
                <a:solidFill>
                  <a:srgbClr val="000000"/>
                </a:solidFill>
              </a:rPr>
              <a:t>)</a:t>
            </a:r>
            <a:r>
              <a:rPr lang="ko-KR" altLang="en-US" sz="900">
                <a:solidFill>
                  <a:srgbClr val="000000"/>
                </a:solidFill>
              </a:rPr>
              <a:t>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endParaRPr lang="en-US" altLang="ko-KR" sz="900">
              <a:solidFill>
                <a:srgbClr val="000000"/>
              </a:solidFill>
            </a:endParaRPr>
          </a:p>
        </p:txBody>
      </p:sp>
      <p:sp>
        <p:nvSpPr>
          <p:cNvPr id="53" name="TextBox 52"/>
          <p:cNvSpPr txBox="1"/>
          <p:nvPr/>
        </p:nvSpPr>
        <p:spPr>
          <a:xfrm>
            <a:off x="4492372" y="3667884"/>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54" name="타원 53"/>
          <p:cNvSpPr/>
          <p:nvPr/>
        </p:nvSpPr>
        <p:spPr>
          <a:xfrm>
            <a:off x="5490186" y="3780087"/>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55" name="TextBox 54"/>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58" name="TextBox 57"/>
          <p:cNvSpPr txBox="1"/>
          <p:nvPr/>
        </p:nvSpPr>
        <p:spPr>
          <a:xfrm>
            <a:off x="1475744" y="505818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멜리아힐</a:t>
            </a:r>
          </a:p>
        </p:txBody>
      </p:sp>
      <p:sp>
        <p:nvSpPr>
          <p:cNvPr id="59" name="타원 58"/>
          <p:cNvSpPr/>
          <p:nvPr/>
        </p:nvSpPr>
        <p:spPr>
          <a:xfrm>
            <a:off x="1862747" y="4914141"/>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60" name="TextBox 59"/>
          <p:cNvSpPr txBox="1"/>
          <p:nvPr/>
        </p:nvSpPr>
        <p:spPr>
          <a:xfrm>
            <a:off x="2231828" y="29430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68" name="TextBox 67"/>
          <p:cNvSpPr txBox="1"/>
          <p:nvPr/>
        </p:nvSpPr>
        <p:spPr>
          <a:xfrm>
            <a:off x="4518010" y="343298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울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0" name="타원 69"/>
          <p:cNvSpPr/>
          <p:nvPr/>
        </p:nvSpPr>
        <p:spPr>
          <a:xfrm>
            <a:off x="4527043" y="3365969"/>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2" name="TextBox 71"/>
          <p:cNvSpPr txBox="1"/>
          <p:nvPr/>
        </p:nvSpPr>
        <p:spPr>
          <a:xfrm>
            <a:off x="71500" y="457651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월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90" name="TextBox 89"/>
          <p:cNvSpPr txBox="1"/>
          <p:nvPr/>
        </p:nvSpPr>
        <p:spPr>
          <a:xfrm>
            <a:off x="1919541" y="3614481"/>
            <a:ext cx="1203334"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0" name="타원 109"/>
          <p:cNvSpPr/>
          <p:nvPr/>
        </p:nvSpPr>
        <p:spPr>
          <a:xfrm>
            <a:off x="673639" y="4628354"/>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1" name="타원 110"/>
          <p:cNvSpPr/>
          <p:nvPr/>
        </p:nvSpPr>
        <p:spPr>
          <a:xfrm>
            <a:off x="2771800" y="3653989"/>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2" name="TextBox 111"/>
          <p:cNvSpPr txBox="1"/>
          <p:nvPr/>
        </p:nvSpPr>
        <p:spPr>
          <a:xfrm>
            <a:off x="3509810" y="394255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에코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3" name="타원 112"/>
          <p:cNvSpPr/>
          <p:nvPr/>
        </p:nvSpPr>
        <p:spPr>
          <a:xfrm>
            <a:off x="3509954" y="3942177"/>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4" name="TextBox 113"/>
          <p:cNvSpPr txBox="1"/>
          <p:nvPr/>
        </p:nvSpPr>
        <p:spPr>
          <a:xfrm>
            <a:off x="4230066" y="43532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포니밸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5" name="타원 114"/>
          <p:cNvSpPr/>
          <p:nvPr/>
        </p:nvSpPr>
        <p:spPr>
          <a:xfrm>
            <a:off x="4229902" y="4374225"/>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6" name="TextBox 115"/>
          <p:cNvSpPr txBox="1"/>
          <p:nvPr/>
        </p:nvSpPr>
        <p:spPr>
          <a:xfrm>
            <a:off x="5296869" y="344699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7" name="직사각형 116"/>
          <p:cNvSpPr/>
          <p:nvPr/>
        </p:nvSpPr>
        <p:spPr>
          <a:xfrm>
            <a:off x="5607163" y="3645024"/>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8" name="TextBox 117"/>
          <p:cNvSpPr txBox="1"/>
          <p:nvPr/>
        </p:nvSpPr>
        <p:spPr>
          <a:xfrm>
            <a:off x="4796989" y="414578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9" name="직사각형 118"/>
          <p:cNvSpPr/>
          <p:nvPr/>
        </p:nvSpPr>
        <p:spPr>
          <a:xfrm>
            <a:off x="5409069" y="4023006"/>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0" name="TextBox 119"/>
          <p:cNvSpPr txBox="1"/>
          <p:nvPr/>
        </p:nvSpPr>
        <p:spPr>
          <a:xfrm>
            <a:off x="1963774" y="5589240"/>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1" name="직사각형 120"/>
          <p:cNvSpPr/>
          <p:nvPr/>
        </p:nvSpPr>
        <p:spPr>
          <a:xfrm>
            <a:off x="2363086" y="5409220"/>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2" name="포인트가 5개인 별 121"/>
          <p:cNvSpPr/>
          <p:nvPr/>
        </p:nvSpPr>
        <p:spPr>
          <a:xfrm>
            <a:off x="2758876" y="3076327"/>
            <a:ext cx="180000" cy="180000"/>
          </a:xfrm>
          <a:prstGeom prst="star5">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3" name="포인트가 5개인 별 122"/>
          <p:cNvSpPr/>
          <p:nvPr/>
        </p:nvSpPr>
        <p:spPr>
          <a:xfrm>
            <a:off x="4347043" y="4545831"/>
            <a:ext cx="180000" cy="180000"/>
          </a:xfrm>
          <a:prstGeom prst="star5">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4" name="TextBox 123"/>
          <p:cNvSpPr txBox="1"/>
          <p:nvPr/>
        </p:nvSpPr>
        <p:spPr>
          <a:xfrm>
            <a:off x="2656168" y="398030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5" name="직사각형 124"/>
          <p:cNvSpPr/>
          <p:nvPr/>
        </p:nvSpPr>
        <p:spPr>
          <a:xfrm>
            <a:off x="2951832" y="3870025"/>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6" name="TextBox 125"/>
          <p:cNvSpPr txBox="1"/>
          <p:nvPr/>
        </p:nvSpPr>
        <p:spPr>
          <a:xfrm>
            <a:off x="2978761" y="3727849"/>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7" name="직사각형 126"/>
          <p:cNvSpPr/>
          <p:nvPr/>
        </p:nvSpPr>
        <p:spPr>
          <a:xfrm>
            <a:off x="2970301" y="3645036"/>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8" name="TextBox 127"/>
          <p:cNvSpPr txBox="1"/>
          <p:nvPr/>
        </p:nvSpPr>
        <p:spPr>
          <a:xfrm>
            <a:off x="3233615" y="306896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0" name="직사각형 129"/>
          <p:cNvSpPr/>
          <p:nvPr/>
        </p:nvSpPr>
        <p:spPr>
          <a:xfrm>
            <a:off x="3095836" y="3186081"/>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1" name="TextBox 130"/>
          <p:cNvSpPr txBox="1"/>
          <p:nvPr/>
        </p:nvSpPr>
        <p:spPr>
          <a:xfrm>
            <a:off x="1896171" y="334209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5" name="직사각형 134"/>
          <p:cNvSpPr/>
          <p:nvPr/>
        </p:nvSpPr>
        <p:spPr>
          <a:xfrm>
            <a:off x="2690683" y="3284840"/>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8" name="직사각형 137"/>
          <p:cNvSpPr/>
          <p:nvPr/>
        </p:nvSpPr>
        <p:spPr>
          <a:xfrm>
            <a:off x="2744905" y="3392996"/>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9" name="TextBox 138"/>
          <p:cNvSpPr txBox="1"/>
          <p:nvPr/>
        </p:nvSpPr>
        <p:spPr>
          <a:xfrm>
            <a:off x="2792652" y="331336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0" name="그림 139"/>
          <p:cNvPicPr preferRelativeResize="0"/>
          <p:nvPr/>
        </p:nvPicPr>
        <p:blipFill>
          <a:blip r:embed="rId2">
            <a:extLst>
              <a:ext uri="{28A0092B-C50C-407E-A947-70E740481C1C}">
                <a14:useLocalDpi xmlns:a14="http://schemas.microsoft.com/office/drawing/2010/main" val="0"/>
              </a:ext>
            </a:extLst>
          </a:blip>
          <a:stretch>
            <a:fillRect/>
          </a:stretch>
        </p:blipFill>
        <p:spPr>
          <a:xfrm>
            <a:off x="8057761" y="3006219"/>
            <a:ext cx="612000" cy="4608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41" name="그림 1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9521" y="3006219"/>
            <a:ext cx="612000" cy="458999"/>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144" name="직선 연결선 143"/>
          <p:cNvCxnSpPr/>
          <p:nvPr/>
        </p:nvCxnSpPr>
        <p:spPr>
          <a:xfrm flipH="1">
            <a:off x="8036918" y="3573152"/>
            <a:ext cx="0" cy="122400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7204501" y="3623460"/>
            <a:ext cx="829318" cy="112338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자연경관</a:t>
            </a:r>
            <a:endParaRPr lang="en-US" altLang="ko-KR" sz="1050">
              <a:solidFill>
                <a:srgbClr val="000000"/>
              </a:solidFill>
              <a:latin typeface="NOVA Bold"/>
              <a:ea typeface="NOVA Bold"/>
              <a:cs typeface="Arial Narrow" pitchFamily="34" charset="0"/>
            </a:endParaRPr>
          </a:p>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실내전시관</a:t>
            </a:r>
            <a:endParaRPr lang="en-US" altLang="ko-KR" sz="1050">
              <a:solidFill>
                <a:srgbClr val="000000"/>
              </a:solidFill>
              <a:latin typeface="NOVA Bold"/>
              <a:ea typeface="NOVA Bold"/>
              <a:cs typeface="Arial Narrow" pitchFamily="34" charset="0"/>
            </a:endParaRPr>
          </a:p>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실외테마파크</a:t>
            </a:r>
            <a:endParaRPr lang="en-US" altLang="ko-KR" sz="1050">
              <a:solidFill>
                <a:srgbClr val="000000"/>
              </a:solidFill>
              <a:latin typeface="NOVA Bold"/>
              <a:ea typeface="NOVA Bold"/>
              <a:cs typeface="Arial Narrow" pitchFamily="34" charset="0"/>
            </a:endParaRPr>
          </a:p>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쇼핑센터</a:t>
            </a:r>
          </a:p>
        </p:txBody>
      </p:sp>
      <p:sp>
        <p:nvSpPr>
          <p:cNvPr id="5" name="직사각형 4"/>
          <p:cNvSpPr/>
          <p:nvPr/>
        </p:nvSpPr>
        <p:spPr>
          <a:xfrm>
            <a:off x="8036924" y="3676006"/>
            <a:ext cx="590401" cy="180000"/>
          </a:xfrm>
          <a:prstGeom prst="rect">
            <a:avLst/>
          </a:prstGeom>
          <a:pattFill prst="wdUpDiag">
            <a:fgClr>
              <a:schemeClr val="bg1">
                <a:lumMod val="85000"/>
              </a:schemeClr>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5" name="직사각형 144"/>
          <p:cNvSpPr/>
          <p:nvPr/>
        </p:nvSpPr>
        <p:spPr>
          <a:xfrm>
            <a:off x="8036924" y="3966666"/>
            <a:ext cx="295201"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6" name="직사각형 145"/>
          <p:cNvSpPr/>
          <p:nvPr/>
        </p:nvSpPr>
        <p:spPr>
          <a:xfrm>
            <a:off x="8036924" y="4257326"/>
            <a:ext cx="442801"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7" name="직사각형 146"/>
          <p:cNvSpPr/>
          <p:nvPr/>
        </p:nvSpPr>
        <p:spPr>
          <a:xfrm>
            <a:off x="8036924" y="4547985"/>
            <a:ext cx="147600"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7" name="직선 연결선 6"/>
          <p:cNvCxnSpPr/>
          <p:nvPr/>
        </p:nvCxnSpPr>
        <p:spPr>
          <a:xfrm flipH="1">
            <a:off x="7201397" y="3573152"/>
            <a:ext cx="0" cy="122400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8" name="직사각형 147"/>
          <p:cNvSpPr/>
          <p:nvPr/>
        </p:nvSpPr>
        <p:spPr>
          <a:xfrm>
            <a:off x="6876677" y="3676006"/>
            <a:ext cx="324720"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9" name="직사각형 148"/>
          <p:cNvSpPr/>
          <p:nvPr/>
        </p:nvSpPr>
        <p:spPr>
          <a:xfrm>
            <a:off x="6714317" y="3966666"/>
            <a:ext cx="487080"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0" name="직사각형 149"/>
          <p:cNvSpPr/>
          <p:nvPr/>
        </p:nvSpPr>
        <p:spPr>
          <a:xfrm>
            <a:off x="6551957" y="4257326"/>
            <a:ext cx="649440" cy="180000"/>
          </a:xfrm>
          <a:prstGeom prst="rect">
            <a:avLst/>
          </a:prstGeom>
          <a:pattFill prst="wdUpDiag">
            <a:fgClr>
              <a:schemeClr val="bg1">
                <a:lumMod val="85000"/>
              </a:schemeClr>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 name="TextBox 12"/>
          <p:cNvSpPr txBox="1"/>
          <p:nvPr/>
        </p:nvSpPr>
        <p:spPr>
          <a:xfrm>
            <a:off x="6300192" y="3692244"/>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22%</a:t>
            </a:r>
            <a:endParaRPr lang="ko-KR" altLang="en-US" sz="1000">
              <a:solidFill>
                <a:srgbClr val="000000"/>
              </a:solidFill>
              <a:cs typeface="Arial Narrow" pitchFamily="34" charset="0"/>
            </a:endParaRPr>
          </a:p>
        </p:txBody>
      </p:sp>
      <p:sp>
        <p:nvSpPr>
          <p:cNvPr id="151" name="TextBox 150"/>
          <p:cNvSpPr txBox="1"/>
          <p:nvPr/>
        </p:nvSpPr>
        <p:spPr>
          <a:xfrm>
            <a:off x="6300192" y="3987519"/>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33%</a:t>
            </a:r>
            <a:endParaRPr lang="ko-KR" altLang="en-US" sz="1000">
              <a:solidFill>
                <a:srgbClr val="000000"/>
              </a:solidFill>
              <a:cs typeface="Arial Narrow" pitchFamily="34" charset="0"/>
            </a:endParaRPr>
          </a:p>
        </p:txBody>
      </p:sp>
      <p:sp>
        <p:nvSpPr>
          <p:cNvPr id="152" name="TextBox 151"/>
          <p:cNvSpPr txBox="1"/>
          <p:nvPr/>
        </p:nvSpPr>
        <p:spPr>
          <a:xfrm>
            <a:off x="6300192" y="4282794"/>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44%</a:t>
            </a:r>
            <a:endParaRPr lang="ko-KR" altLang="en-US" sz="1000">
              <a:solidFill>
                <a:srgbClr val="000000"/>
              </a:solidFill>
              <a:cs typeface="Arial Narrow" pitchFamily="34" charset="0"/>
            </a:endParaRPr>
          </a:p>
        </p:txBody>
      </p:sp>
      <p:sp>
        <p:nvSpPr>
          <p:cNvPr id="153" name="TextBox 152"/>
          <p:cNvSpPr txBox="1"/>
          <p:nvPr/>
        </p:nvSpPr>
        <p:spPr>
          <a:xfrm>
            <a:off x="6300192" y="4578068"/>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0%</a:t>
            </a:r>
            <a:endParaRPr lang="ko-KR" altLang="en-US" sz="1000">
              <a:solidFill>
                <a:srgbClr val="000000"/>
              </a:solidFill>
              <a:cs typeface="Arial Narrow" pitchFamily="34" charset="0"/>
            </a:endParaRPr>
          </a:p>
        </p:txBody>
      </p:sp>
      <p:grpSp>
        <p:nvGrpSpPr>
          <p:cNvPr id="154" name="그룹 153"/>
          <p:cNvGrpSpPr/>
          <p:nvPr/>
        </p:nvGrpSpPr>
        <p:grpSpPr>
          <a:xfrm>
            <a:off x="7421449" y="3692244"/>
            <a:ext cx="901205" cy="1028171"/>
            <a:chOff x="6429550" y="3492882"/>
            <a:chExt cx="901205" cy="1028171"/>
          </a:xfrm>
        </p:grpSpPr>
        <p:sp>
          <p:nvSpPr>
            <p:cNvPr id="155" name="TextBox 154"/>
            <p:cNvSpPr txBox="1"/>
            <p:nvPr/>
          </p:nvSpPr>
          <p:spPr>
            <a:xfrm>
              <a:off x="6428649" y="3492882"/>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40%</a:t>
              </a:r>
              <a:endParaRPr lang="ko-KR" altLang="en-US" sz="1000">
                <a:solidFill>
                  <a:srgbClr val="000000"/>
                </a:solidFill>
                <a:cs typeface="Arial Narrow" pitchFamily="34" charset="0"/>
              </a:endParaRPr>
            </a:p>
          </p:txBody>
        </p:sp>
        <p:sp>
          <p:nvSpPr>
            <p:cNvPr id="156" name="TextBox 155"/>
            <p:cNvSpPr txBox="1"/>
            <p:nvPr/>
          </p:nvSpPr>
          <p:spPr>
            <a:xfrm>
              <a:off x="6428649" y="3788157"/>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20%</a:t>
              </a:r>
              <a:endParaRPr lang="ko-KR" altLang="en-US" sz="1000">
                <a:solidFill>
                  <a:srgbClr val="000000"/>
                </a:solidFill>
                <a:cs typeface="Arial Narrow" pitchFamily="34" charset="0"/>
              </a:endParaRPr>
            </a:p>
          </p:txBody>
        </p:sp>
        <p:sp>
          <p:nvSpPr>
            <p:cNvPr id="157" name="TextBox 156"/>
            <p:cNvSpPr txBox="1"/>
            <p:nvPr/>
          </p:nvSpPr>
          <p:spPr>
            <a:xfrm>
              <a:off x="6428649" y="4083432"/>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30%</a:t>
              </a:r>
              <a:endParaRPr lang="ko-KR" altLang="en-US" sz="1000">
                <a:solidFill>
                  <a:srgbClr val="000000"/>
                </a:solidFill>
                <a:cs typeface="Arial Narrow" pitchFamily="34" charset="0"/>
              </a:endParaRPr>
            </a:p>
          </p:txBody>
        </p:sp>
        <p:sp>
          <p:nvSpPr>
            <p:cNvPr id="158" name="TextBox 157"/>
            <p:cNvSpPr txBox="1"/>
            <p:nvPr/>
          </p:nvSpPr>
          <p:spPr>
            <a:xfrm>
              <a:off x="6428649" y="4378706"/>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10%</a:t>
              </a:r>
              <a:endParaRPr lang="ko-KR" altLang="en-US" sz="1000">
                <a:solidFill>
                  <a:srgbClr val="000000"/>
                </a:solidFill>
                <a:cs typeface="Arial Narrow" pitchFamily="34" charset="0"/>
              </a:endParaRPr>
            </a:p>
          </p:txBody>
        </p:sp>
      </p:grpSp>
      <p:sp>
        <p:nvSpPr>
          <p:cNvPr id="129" name="TextBox 128"/>
          <p:cNvSpPr txBox="1"/>
          <p:nvPr/>
        </p:nvSpPr>
        <p:spPr>
          <a:xfrm>
            <a:off x="2261291" y="4880241"/>
            <a:ext cx="117089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Tree>
    <p:extLst>
      <p:ext uri="{BB962C8B-B14F-4D97-AF65-F5344CB8AC3E}">
        <p14:creationId xmlns:p14="http://schemas.microsoft.com/office/powerpoint/2010/main" val="332045816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779912" y="2935218"/>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53792994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 업종</a:t>
            </a:r>
            <a:r>
              <a:rPr lang="ko-KR" altLang="en-US" smtClean="0">
                <a:sym typeface="Wingdings 2"/>
              </a:rPr>
              <a:t>테마 분류</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20000"/>
              </a:lnSpc>
            </a:pPr>
            <a:r>
              <a:rPr lang="ko-KR" altLang="en-US" sz="1600" spc="50">
                <a:ln>
                  <a:solidFill>
                    <a:prstClr val="black">
                      <a:alpha val="20000"/>
                    </a:prstClr>
                  </a:solidFill>
                </a:ln>
                <a:solidFill>
                  <a:srgbClr val="000000"/>
                </a:solidFill>
                <a:latin typeface="NOVA Bold"/>
                <a:ea typeface="NOVA Bold"/>
                <a:cs typeface="Arial" pitchFamily="34" charset="0"/>
              </a:rPr>
              <a:t>관광 산업과의 관련도에 따라</a:t>
            </a:r>
            <a:r>
              <a:rPr lang="en-US" altLang="ko-KR" sz="1600" spc="50">
                <a:ln>
                  <a:solidFill>
                    <a:prstClr val="black">
                      <a:alpha val="20000"/>
                    </a:prstClr>
                  </a:solidFill>
                </a:ln>
                <a:solidFill>
                  <a:srgbClr val="000000"/>
                </a:solidFill>
                <a:latin typeface="NOVA Bold"/>
                <a:ea typeface="NOVA Bold"/>
                <a:cs typeface="Arial" pitchFamily="34" charset="0"/>
              </a:rPr>
              <a:t> 8</a:t>
            </a:r>
            <a:r>
              <a:rPr lang="ko-KR" altLang="en-US" sz="1600" spc="50">
                <a:ln>
                  <a:solidFill>
                    <a:prstClr val="black">
                      <a:alpha val="20000"/>
                    </a:prstClr>
                  </a:solidFill>
                </a:ln>
                <a:solidFill>
                  <a:srgbClr val="000000"/>
                </a:solidFill>
                <a:latin typeface="NOVA Bold"/>
                <a:ea typeface="NOVA Bold"/>
                <a:cs typeface="Arial" pitchFamily="34" charset="0"/>
              </a:rPr>
              <a:t>개 대업종으로 구분하고</a:t>
            </a:r>
            <a:r>
              <a:rPr lang="en-US" altLang="ko-KR" sz="1600" spc="50">
                <a:ln>
                  <a:solidFill>
                    <a:prstClr val="black">
                      <a:alpha val="20000"/>
                    </a:prstClr>
                  </a:solidFill>
                </a:ln>
                <a:solidFill>
                  <a:srgbClr val="000000"/>
                </a:solidFill>
                <a:latin typeface="NOVA Bold"/>
                <a:ea typeface="NOVA Bold"/>
                <a:cs typeface="Arial" pitchFamily="34" charset="0"/>
              </a:rPr>
              <a:t>,</a:t>
            </a:r>
          </a:p>
          <a:p>
            <a:pPr>
              <a:lnSpc>
                <a:spcPct val="120000"/>
              </a:lnSpc>
            </a:pP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개 대업종은 여행 테마를 감안하여 </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교통과 기타를 제외 후 </a:t>
            </a:r>
            <a:r>
              <a:rPr lang="en-US" altLang="ko-KR" sz="1600" spc="50">
                <a:ln>
                  <a:solidFill>
                    <a:prstClr val="black">
                      <a:alpha val="20000"/>
                    </a:prstClr>
                  </a:solidFill>
                </a:ln>
                <a:solidFill>
                  <a:srgbClr val="000000"/>
                </a:solidFill>
                <a:latin typeface="NOVA Bold"/>
                <a:ea typeface="NOVA Bold"/>
                <a:cs typeface="Arial" pitchFamily="34" charset="0"/>
              </a:rPr>
              <a:t>5</a:t>
            </a:r>
            <a:r>
              <a:rPr lang="ko-KR" altLang="en-US" sz="1600" spc="50">
                <a:ln>
                  <a:solidFill>
                    <a:prstClr val="black">
                      <a:alpha val="20000"/>
                    </a:prstClr>
                  </a:solidFill>
                </a:ln>
                <a:solidFill>
                  <a:srgbClr val="000000"/>
                </a:solidFill>
                <a:latin typeface="NOVA Bold"/>
                <a:ea typeface="NOVA Bold"/>
                <a:cs typeface="Arial" pitchFamily="34" charset="0"/>
              </a:rPr>
              <a:t>개 테마로 재구분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국적별 소비 분석</a:t>
            </a:r>
            <a:endParaRPr lang="ko-KR" altLang="en-US"/>
          </a:p>
        </p:txBody>
      </p:sp>
      <p:sp>
        <p:nvSpPr>
          <p:cNvPr id="49" name="직사각형 48"/>
          <p:cNvSpPr/>
          <p:nvPr/>
        </p:nvSpPr>
        <p:spPr>
          <a:xfrm>
            <a:off x="413972"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관광</a:t>
            </a:r>
            <a:r>
              <a:rPr lang="en-US" altLang="ko-KR" sz="1400" spc="-60">
                <a:solidFill>
                  <a:srgbClr val="000000"/>
                </a:solidFill>
                <a:latin typeface="NOVA Bold" panose="00000800000000000000" pitchFamily="2" charset="-127"/>
                <a:ea typeface="NOVA Bold" panose="00000800000000000000" pitchFamily="2" charset="-127"/>
              </a:rPr>
              <a:t> </a:t>
            </a:r>
            <a:r>
              <a:rPr lang="ko-KR" altLang="en-US" sz="1400" spc="-60">
                <a:solidFill>
                  <a:srgbClr val="000000"/>
                </a:solidFill>
                <a:latin typeface="NOVA Bold" panose="00000800000000000000" pitchFamily="2" charset="-127"/>
                <a:ea typeface="NOVA Bold" panose="00000800000000000000" pitchFamily="2" charset="-127"/>
              </a:rPr>
              <a:t>관련 </a:t>
            </a:r>
            <a:r>
              <a:rPr lang="en-US" altLang="ko-KR" sz="1400" spc="-60">
                <a:solidFill>
                  <a:srgbClr val="000000"/>
                </a:solidFill>
                <a:latin typeface="NOVA Bold" panose="00000800000000000000" pitchFamily="2" charset="-127"/>
                <a:ea typeface="NOVA Bold" panose="00000800000000000000" pitchFamily="2" charset="-127"/>
              </a:rPr>
              <a:t>8</a:t>
            </a:r>
            <a:r>
              <a:rPr lang="ko-KR" altLang="en-US" sz="1400" spc="-60">
                <a:solidFill>
                  <a:srgbClr val="000000"/>
                </a:solidFill>
                <a:latin typeface="NOVA Bold" panose="00000800000000000000" pitchFamily="2" charset="-127"/>
                <a:ea typeface="NOVA Bold" panose="00000800000000000000" pitchFamily="2" charset="-127"/>
              </a:rPr>
              <a:t>개 대업종을 기본으로 분석하며</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상세 분석 필요 시 </a:t>
            </a:r>
            <a:r>
              <a:rPr lang="en-US" altLang="ko-KR" sz="1400" spc="-60">
                <a:solidFill>
                  <a:srgbClr val="000000"/>
                </a:solidFill>
                <a:latin typeface="NOVA Bold" panose="00000800000000000000" pitchFamily="2" charset="-127"/>
                <a:ea typeface="NOVA Bold" panose="00000800000000000000" pitchFamily="2" charset="-127"/>
              </a:rPr>
              <a:t>BC</a:t>
            </a:r>
            <a:r>
              <a:rPr lang="ko-KR" altLang="en-US" sz="1400" spc="-60">
                <a:solidFill>
                  <a:srgbClr val="000000"/>
                </a:solidFill>
                <a:latin typeface="NOVA Bold" panose="00000800000000000000" pitchFamily="2" charset="-127"/>
                <a:ea typeface="NOVA Bold" panose="00000800000000000000" pitchFamily="2" charset="-127"/>
              </a:rPr>
              <a:t>의 </a:t>
            </a:r>
            <a:r>
              <a:rPr lang="en-US" altLang="ko-KR" sz="1400" spc="-60">
                <a:solidFill>
                  <a:srgbClr val="000000"/>
                </a:solidFill>
                <a:latin typeface="NOVA Bold" panose="00000800000000000000" pitchFamily="2" charset="-127"/>
                <a:ea typeface="NOVA Bold" panose="00000800000000000000" pitchFamily="2" charset="-127"/>
              </a:rPr>
              <a:t>34</a:t>
            </a:r>
            <a:r>
              <a:rPr lang="ko-KR" altLang="en-US" sz="1400" spc="-60">
                <a:solidFill>
                  <a:srgbClr val="000000"/>
                </a:solidFill>
                <a:latin typeface="NOVA Bold" panose="00000800000000000000" pitchFamily="2" charset="-127"/>
                <a:ea typeface="NOVA Bold" panose="00000800000000000000" pitchFamily="2" charset="-127"/>
              </a:rPr>
              <a:t>개 혹은 </a:t>
            </a:r>
            <a:r>
              <a:rPr lang="en-US" altLang="ko-KR" sz="1400" spc="-60">
                <a:solidFill>
                  <a:srgbClr val="000000"/>
                </a:solidFill>
                <a:latin typeface="NOVA Bold" panose="00000800000000000000" pitchFamily="2" charset="-127"/>
                <a:ea typeface="NOVA Bold" panose="00000800000000000000" pitchFamily="2" charset="-127"/>
              </a:rPr>
              <a:t>269</a:t>
            </a:r>
            <a:r>
              <a:rPr lang="ko-KR" altLang="en-US" sz="1400" spc="-60">
                <a:solidFill>
                  <a:srgbClr val="000000"/>
                </a:solidFill>
                <a:latin typeface="NOVA Bold" panose="00000800000000000000" pitchFamily="2" charset="-127"/>
                <a:ea typeface="NOVA Bold" panose="00000800000000000000" pitchFamily="2" charset="-127"/>
              </a:rPr>
              <a:t>개 업종 이용</a:t>
            </a:r>
          </a:p>
        </p:txBody>
      </p:sp>
      <p:sp>
        <p:nvSpPr>
          <p:cNvPr id="54" name="직사각형 53"/>
          <p:cNvSpPr/>
          <p:nvPr/>
        </p:nvSpPr>
        <p:spPr>
          <a:xfrm>
            <a:off x="4780961"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교통과 기타 업종 제외하고</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쇼핑과 소매 업종 통합하여 </a:t>
            </a:r>
            <a:r>
              <a:rPr lang="en-US" altLang="ko-KR" sz="1400" spc="-60">
                <a:solidFill>
                  <a:srgbClr val="000000"/>
                </a:solidFill>
                <a:latin typeface="NOVA Bold" panose="00000800000000000000" pitchFamily="2" charset="-127"/>
                <a:ea typeface="NOVA Bold" panose="00000800000000000000" pitchFamily="2" charset="-127"/>
              </a:rPr>
              <a:t>5</a:t>
            </a:r>
            <a:r>
              <a:rPr lang="ko-KR" altLang="en-US" sz="1400" spc="-60">
                <a:solidFill>
                  <a:srgbClr val="000000"/>
                </a:solidFill>
                <a:latin typeface="NOVA Bold" panose="00000800000000000000" pitchFamily="2" charset="-127"/>
                <a:ea typeface="NOVA Bold" panose="00000800000000000000" pitchFamily="2" charset="-127"/>
              </a:rPr>
              <a:t>개 테마 구성</a:t>
            </a:r>
          </a:p>
        </p:txBody>
      </p:sp>
      <p:sp>
        <p:nvSpPr>
          <p:cNvPr id="55" name="모서리가 둥근 직사각형 54"/>
          <p:cNvSpPr/>
          <p:nvPr/>
        </p:nvSpPr>
        <p:spPr>
          <a:xfrm>
            <a:off x="1600882" y="3274333"/>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일반음식</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제과</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음료</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정육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건강식품 등</a:t>
            </a:r>
          </a:p>
        </p:txBody>
      </p:sp>
      <p:sp>
        <p:nvSpPr>
          <p:cNvPr id="56" name="모서리가 둥근 직사각형 55"/>
          <p:cNvSpPr/>
          <p:nvPr/>
        </p:nvSpPr>
        <p:spPr>
          <a:xfrm>
            <a:off x="359532" y="3274333"/>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식음료</a:t>
            </a:r>
          </a:p>
        </p:txBody>
      </p:sp>
      <p:sp>
        <p:nvSpPr>
          <p:cNvPr id="58" name="모서리가 둥근 직사각형 57"/>
          <p:cNvSpPr/>
          <p:nvPr/>
        </p:nvSpPr>
        <p:spPr>
          <a:xfrm>
            <a:off x="1600882" y="3685589"/>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호텔</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콘도</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여관</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기타 숙박업 등</a:t>
            </a:r>
          </a:p>
        </p:txBody>
      </p:sp>
      <p:sp>
        <p:nvSpPr>
          <p:cNvPr id="59" name="모서리가 둥근 직사각형 58"/>
          <p:cNvSpPr/>
          <p:nvPr/>
        </p:nvSpPr>
        <p:spPr>
          <a:xfrm>
            <a:off x="359532" y="3685589"/>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숙박</a:t>
            </a:r>
          </a:p>
        </p:txBody>
      </p:sp>
      <p:sp>
        <p:nvSpPr>
          <p:cNvPr id="61" name="모서리가 둥근 직사각형 60"/>
          <p:cNvSpPr/>
          <p:nvPr/>
        </p:nvSpPr>
        <p:spPr>
          <a:xfrm>
            <a:off x="1600882" y="4096845"/>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항공사</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렌터카</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여객선</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버스</a:t>
            </a:r>
            <a:r>
              <a:rPr lang="en-US" altLang="ko-KR" sz="1200" spc="-60">
                <a:solidFill>
                  <a:srgbClr val="000000">
                    <a:lumMod val="65000"/>
                    <a:lumOff val="35000"/>
                  </a:srgbClr>
                </a:solidFill>
              </a:rPr>
              <a:t>, </a:t>
            </a:r>
            <a:r>
              <a:rPr lang="ko-KR" altLang="en-US" sz="1200" spc="-60">
                <a:solidFill>
                  <a:srgbClr val="000000">
                    <a:lumMod val="65000"/>
                    <a:lumOff val="35000"/>
                  </a:srgbClr>
                </a:solidFill>
              </a:rPr>
              <a:t>택시 등</a:t>
            </a:r>
          </a:p>
        </p:txBody>
      </p:sp>
      <p:sp>
        <p:nvSpPr>
          <p:cNvPr id="62" name="모서리가 둥근 직사각형 61"/>
          <p:cNvSpPr/>
          <p:nvPr/>
        </p:nvSpPr>
        <p:spPr>
          <a:xfrm>
            <a:off x="359532" y="4096845"/>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교통</a:t>
            </a:r>
          </a:p>
        </p:txBody>
      </p:sp>
      <p:sp>
        <p:nvSpPr>
          <p:cNvPr id="64" name="모서리가 둥근 직사각형 63"/>
          <p:cNvSpPr/>
          <p:nvPr/>
        </p:nvSpPr>
        <p:spPr>
          <a:xfrm>
            <a:off x="1600882" y="4508101"/>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레져용품</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당구장</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노래방</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서적</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영화관 등</a:t>
            </a:r>
          </a:p>
        </p:txBody>
      </p:sp>
      <p:sp>
        <p:nvSpPr>
          <p:cNvPr id="69" name="모서리가 둥근 직사각형 68"/>
          <p:cNvSpPr/>
          <p:nvPr/>
        </p:nvSpPr>
        <p:spPr>
          <a:xfrm>
            <a:off x="359532" y="4508101"/>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문화</a:t>
            </a: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a:t>
            </a: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레져</a:t>
            </a:r>
          </a:p>
        </p:txBody>
      </p:sp>
      <p:sp>
        <p:nvSpPr>
          <p:cNvPr id="76" name="모서리가 둥근 직사각형 75"/>
          <p:cNvSpPr/>
          <p:nvPr/>
        </p:nvSpPr>
        <p:spPr>
          <a:xfrm>
            <a:off x="1600882" y="4919357"/>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백화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대형할인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슈퍼마켓</a:t>
            </a:r>
            <a:r>
              <a:rPr lang="en-US" altLang="ko-KR" sz="1200" spc="-60">
                <a:solidFill>
                  <a:srgbClr val="000000">
                    <a:lumMod val="65000"/>
                    <a:lumOff val="35000"/>
                  </a:srgbClr>
                </a:solidFill>
              </a:rPr>
              <a:t>, </a:t>
            </a:r>
            <a:r>
              <a:rPr lang="ko-KR" altLang="en-US" sz="1200" spc="-60">
                <a:solidFill>
                  <a:srgbClr val="000000">
                    <a:lumMod val="65000"/>
                    <a:lumOff val="35000"/>
                  </a:srgbClr>
                </a:solidFill>
              </a:rPr>
              <a:t>편의점 등</a:t>
            </a:r>
          </a:p>
        </p:txBody>
      </p:sp>
      <p:sp>
        <p:nvSpPr>
          <p:cNvPr id="77" name="모서리가 둥근 직사각형 76"/>
          <p:cNvSpPr/>
          <p:nvPr/>
        </p:nvSpPr>
        <p:spPr>
          <a:xfrm>
            <a:off x="359532" y="4919357"/>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쇼핑</a:t>
            </a:r>
          </a:p>
        </p:txBody>
      </p:sp>
      <p:sp>
        <p:nvSpPr>
          <p:cNvPr id="84" name="모서리가 둥근 직사각형 83"/>
          <p:cNvSpPr/>
          <p:nvPr/>
        </p:nvSpPr>
        <p:spPr>
          <a:xfrm>
            <a:off x="1600882" y="5330613"/>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의류</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신변잡화</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주방용품</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가전제품</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가구 등</a:t>
            </a:r>
          </a:p>
        </p:txBody>
      </p:sp>
      <p:sp>
        <p:nvSpPr>
          <p:cNvPr id="85" name="모서리가 둥근 직사각형 84"/>
          <p:cNvSpPr/>
          <p:nvPr/>
        </p:nvSpPr>
        <p:spPr>
          <a:xfrm>
            <a:off x="359532" y="5330613"/>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소매</a:t>
            </a:r>
          </a:p>
        </p:txBody>
      </p:sp>
      <p:sp>
        <p:nvSpPr>
          <p:cNvPr id="87" name="모서리가 둥근 직사각형 86"/>
          <p:cNvSpPr/>
          <p:nvPr/>
        </p:nvSpPr>
        <p:spPr>
          <a:xfrm>
            <a:off x="1600882" y="5741869"/>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일반주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유흥주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단란주점 등</a:t>
            </a:r>
          </a:p>
        </p:txBody>
      </p:sp>
      <p:sp>
        <p:nvSpPr>
          <p:cNvPr id="88" name="모서리가 둥근 직사각형 87"/>
          <p:cNvSpPr/>
          <p:nvPr/>
        </p:nvSpPr>
        <p:spPr>
          <a:xfrm>
            <a:off x="359532" y="5741869"/>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유흥</a:t>
            </a:r>
          </a:p>
        </p:txBody>
      </p:sp>
      <p:sp>
        <p:nvSpPr>
          <p:cNvPr id="90" name="모서리가 둥근 직사각형 89"/>
          <p:cNvSpPr/>
          <p:nvPr/>
        </p:nvSpPr>
        <p:spPr>
          <a:xfrm>
            <a:off x="1600882" y="6153125"/>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의료기관</a:t>
            </a:r>
            <a:r>
              <a:rPr lang="en-US" altLang="ko-KR" sz="1200" spc="-60">
                <a:solidFill>
                  <a:srgbClr val="000000">
                    <a:lumMod val="65000"/>
                    <a:lumOff val="35000"/>
                  </a:srgbClr>
                </a:solidFill>
              </a:rPr>
              <a:t>, </a:t>
            </a:r>
            <a:r>
              <a:rPr lang="ko-KR" altLang="en-US" sz="1200" spc="-60">
                <a:solidFill>
                  <a:srgbClr val="000000">
                    <a:lumMod val="65000"/>
                    <a:lumOff val="35000"/>
                  </a:srgbClr>
                </a:solidFill>
              </a:rPr>
              <a:t>학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보건</a:t>
            </a:r>
            <a:r>
              <a:rPr lang="en-US" altLang="ko-KR" sz="1200" spc="-60">
                <a:solidFill>
                  <a:srgbClr val="000000">
                    <a:lumMod val="65000"/>
                    <a:lumOff val="35000"/>
                  </a:srgbClr>
                </a:solidFill>
              </a:rPr>
              <a:t>/</a:t>
            </a:r>
            <a:r>
              <a:rPr lang="ko-KR" altLang="en-US" sz="1200" spc="-60">
                <a:solidFill>
                  <a:srgbClr val="000000">
                    <a:lumMod val="65000"/>
                    <a:lumOff val="35000"/>
                  </a:srgbClr>
                </a:solidFill>
              </a:rPr>
              <a:t>위생</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건축</a:t>
            </a:r>
            <a:r>
              <a:rPr lang="en-US" altLang="ko-KR" sz="1200" spc="-60">
                <a:solidFill>
                  <a:srgbClr val="000000">
                    <a:lumMod val="65000"/>
                    <a:lumOff val="35000"/>
                  </a:srgbClr>
                </a:solidFill>
              </a:rPr>
              <a:t>/</a:t>
            </a:r>
            <a:r>
              <a:rPr lang="ko-KR" altLang="en-US" sz="1200" spc="-60">
                <a:solidFill>
                  <a:srgbClr val="000000">
                    <a:lumMod val="65000"/>
                    <a:lumOff val="35000"/>
                  </a:srgbClr>
                </a:solidFill>
              </a:rPr>
              <a:t>자재 등</a:t>
            </a:r>
          </a:p>
        </p:txBody>
      </p:sp>
      <p:sp>
        <p:nvSpPr>
          <p:cNvPr id="91" name="모서리가 둥근 직사각형 90"/>
          <p:cNvSpPr/>
          <p:nvPr/>
        </p:nvSpPr>
        <p:spPr>
          <a:xfrm>
            <a:off x="359532" y="6153125"/>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기타</a:t>
            </a:r>
          </a:p>
        </p:txBody>
      </p:sp>
      <p:sp>
        <p:nvSpPr>
          <p:cNvPr id="93" name="TextBox 92"/>
          <p:cNvSpPr txBox="1"/>
          <p:nvPr/>
        </p:nvSpPr>
        <p:spPr>
          <a:xfrm>
            <a:off x="4716416"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테마 분류 </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5</a:t>
            </a: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개</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a:t>
            </a:r>
          </a:p>
        </p:txBody>
      </p:sp>
      <p:sp>
        <p:nvSpPr>
          <p:cNvPr id="94" name="TextBox 93"/>
          <p:cNvSpPr txBox="1"/>
          <p:nvPr/>
        </p:nvSpPr>
        <p:spPr>
          <a:xfrm>
            <a:off x="359972"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업종 구분 </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8</a:t>
            </a: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개</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a:t>
            </a:r>
          </a:p>
        </p:txBody>
      </p:sp>
      <p:sp>
        <p:nvSpPr>
          <p:cNvPr id="95" name="TextBox 94"/>
          <p:cNvSpPr txBox="1"/>
          <p:nvPr/>
        </p:nvSpPr>
        <p:spPr>
          <a:xfrm>
            <a:off x="4606523" y="3937720"/>
            <a:ext cx="46800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000000"/>
                </a:solidFill>
                <a:cs typeface="Arial Narrow" pitchFamily="34" charset="0"/>
              </a:rPr>
              <a:t>업종</a:t>
            </a:r>
          </a:p>
        </p:txBody>
      </p:sp>
      <p:sp>
        <p:nvSpPr>
          <p:cNvPr id="96" name="TextBox 95"/>
          <p:cNvSpPr txBox="1"/>
          <p:nvPr/>
        </p:nvSpPr>
        <p:spPr>
          <a:xfrm>
            <a:off x="4606523" y="5454428"/>
            <a:ext cx="46800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000000"/>
                </a:solidFill>
                <a:cs typeface="Arial Narrow" pitchFamily="34" charset="0"/>
              </a:rPr>
              <a:t>테마</a:t>
            </a:r>
          </a:p>
        </p:txBody>
      </p:sp>
      <p:sp>
        <p:nvSpPr>
          <p:cNvPr id="97" name="직사각형 96"/>
          <p:cNvSpPr/>
          <p:nvPr/>
        </p:nvSpPr>
        <p:spPr>
          <a:xfrm>
            <a:off x="5145024"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식음료</a:t>
            </a:r>
          </a:p>
        </p:txBody>
      </p:sp>
      <p:sp>
        <p:nvSpPr>
          <p:cNvPr id="98" name="직사각형 97"/>
          <p:cNvSpPr/>
          <p:nvPr/>
        </p:nvSpPr>
        <p:spPr>
          <a:xfrm>
            <a:off x="6755320"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쇼핑</a:t>
            </a:r>
          </a:p>
        </p:txBody>
      </p:sp>
      <p:sp>
        <p:nvSpPr>
          <p:cNvPr id="99" name="직사각형 98"/>
          <p:cNvSpPr/>
          <p:nvPr/>
        </p:nvSpPr>
        <p:spPr>
          <a:xfrm>
            <a:off x="7291056"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소매</a:t>
            </a:r>
          </a:p>
        </p:txBody>
      </p:sp>
      <p:sp>
        <p:nvSpPr>
          <p:cNvPr id="100" name="직사각형 99"/>
          <p:cNvSpPr/>
          <p:nvPr/>
        </p:nvSpPr>
        <p:spPr>
          <a:xfrm>
            <a:off x="7826792"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유흥</a:t>
            </a:r>
          </a:p>
        </p:txBody>
      </p:sp>
      <p:sp>
        <p:nvSpPr>
          <p:cNvPr id="101" name="직사각형 100"/>
          <p:cNvSpPr/>
          <p:nvPr/>
        </p:nvSpPr>
        <p:spPr>
          <a:xfrm>
            <a:off x="8330792" y="3465128"/>
            <a:ext cx="288000" cy="504000"/>
          </a:xfrm>
          <a:prstGeom prst="rect">
            <a:avLst/>
          </a:prstGeom>
          <a:noFill/>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a:solidFill>
                  <a:srgbClr val="FFFFFF">
                    <a:lumMod val="65000"/>
                  </a:srgbClr>
                </a:solidFill>
                <a:latin typeface="NOVA Bold"/>
                <a:ea typeface="NOVA Bold"/>
              </a:rPr>
              <a:t>교통</a:t>
            </a:r>
          </a:p>
        </p:txBody>
      </p:sp>
      <p:grpSp>
        <p:nvGrpSpPr>
          <p:cNvPr id="102" name="그룹 101"/>
          <p:cNvGrpSpPr/>
          <p:nvPr/>
        </p:nvGrpSpPr>
        <p:grpSpPr>
          <a:xfrm>
            <a:off x="6219584" y="3465128"/>
            <a:ext cx="432000" cy="1116000"/>
            <a:chOff x="5993530" y="3465128"/>
            <a:chExt cx="432000" cy="1116000"/>
          </a:xfrm>
        </p:grpSpPr>
        <p:sp>
          <p:nvSpPr>
            <p:cNvPr id="103" name="직사각형 102"/>
            <p:cNvSpPr/>
            <p:nvPr/>
          </p:nvSpPr>
          <p:spPr>
            <a:xfrm>
              <a:off x="5993530"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500">
                  <a:solidFill>
                    <a:srgbClr val="FF0000"/>
                  </a:solidFill>
                  <a:latin typeface="NOVA Bold"/>
                  <a:ea typeface="NOVA Bold"/>
                </a:rPr>
                <a:t>문화</a:t>
              </a:r>
              <a:endParaRPr lang="en-US" altLang="ko-KR" sz="1500">
                <a:solidFill>
                  <a:srgbClr val="FF0000"/>
                </a:solidFill>
                <a:latin typeface="NOVA Bold"/>
                <a:ea typeface="NOVA Bold"/>
              </a:endParaRPr>
            </a:p>
            <a:p>
              <a:pPr algn="ctr">
                <a:lnSpc>
                  <a:spcPct val="90000"/>
                </a:lnSpc>
                <a:spcBef>
                  <a:spcPts val="400"/>
                </a:spcBef>
              </a:pPr>
              <a:endParaRPr lang="en-US" altLang="ko-KR" sz="100">
                <a:solidFill>
                  <a:srgbClr val="FF0000"/>
                </a:solidFill>
                <a:latin typeface="NOVA Bold"/>
                <a:ea typeface="NOVA Bold"/>
              </a:endParaRPr>
            </a:p>
            <a:p>
              <a:pPr algn="ctr">
                <a:lnSpc>
                  <a:spcPct val="90000"/>
                </a:lnSpc>
                <a:spcBef>
                  <a:spcPts val="400"/>
                </a:spcBef>
              </a:pPr>
              <a:r>
                <a:rPr lang="ko-KR" altLang="en-US" sz="1500">
                  <a:solidFill>
                    <a:srgbClr val="FF0000"/>
                  </a:solidFill>
                  <a:latin typeface="NOVA Bold"/>
                  <a:ea typeface="NOVA Bold"/>
                </a:rPr>
                <a:t>레져</a:t>
              </a:r>
            </a:p>
          </p:txBody>
        </p:sp>
        <p:sp>
          <p:nvSpPr>
            <p:cNvPr id="104" name="TextBox 103"/>
            <p:cNvSpPr txBox="1"/>
            <p:nvPr/>
          </p:nvSpPr>
          <p:spPr>
            <a:xfrm>
              <a:off x="6074195" y="3969060"/>
              <a:ext cx="205946" cy="46852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500" b="1">
                  <a:solidFill>
                    <a:srgbClr val="FF0000"/>
                  </a:solidFill>
                  <a:cs typeface="Arial Narrow" pitchFamily="34" charset="0"/>
                </a:rPr>
                <a:t>/</a:t>
              </a:r>
              <a:endParaRPr lang="ko-KR" altLang="en-US" sz="1500" b="1">
                <a:solidFill>
                  <a:srgbClr val="FF0000"/>
                </a:solidFill>
                <a:cs typeface="Arial Narrow" pitchFamily="34" charset="0"/>
              </a:endParaRPr>
            </a:p>
          </p:txBody>
        </p:sp>
      </p:grpSp>
      <p:sp>
        <p:nvSpPr>
          <p:cNvPr id="105" name="타원 104"/>
          <p:cNvSpPr/>
          <p:nvPr/>
        </p:nvSpPr>
        <p:spPr>
          <a:xfrm>
            <a:off x="5051356" y="5788737"/>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a:solidFill>
                  <a:srgbClr val="FF0000"/>
                </a:solidFill>
                <a:latin typeface="NOVA Bold"/>
                <a:ea typeface="NOVA Bold"/>
              </a:rPr>
              <a:t>E</a:t>
            </a:r>
            <a:r>
              <a:rPr lang="en-US" altLang="ko-KR" sz="1200">
                <a:solidFill>
                  <a:srgbClr val="000000"/>
                </a:solidFill>
                <a:latin typeface="NOVA Bold"/>
                <a:ea typeface="NOVA Bold"/>
              </a:rPr>
              <a:t>at!</a:t>
            </a:r>
            <a:endParaRPr lang="ko-KR" altLang="en-US" sz="1200">
              <a:solidFill>
                <a:srgbClr val="000000"/>
              </a:solidFill>
              <a:latin typeface="NOVA Bold"/>
              <a:ea typeface="NOVA Bold"/>
            </a:endParaRPr>
          </a:p>
        </p:txBody>
      </p:sp>
      <p:sp>
        <p:nvSpPr>
          <p:cNvPr id="106" name="타원 105"/>
          <p:cNvSpPr/>
          <p:nvPr/>
        </p:nvSpPr>
        <p:spPr>
          <a:xfrm>
            <a:off x="6125916" y="5788737"/>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spc="-50">
                <a:solidFill>
                  <a:srgbClr val="FF0000"/>
                </a:solidFill>
                <a:latin typeface="NOVA Bold"/>
                <a:ea typeface="NOVA Bold"/>
              </a:rPr>
              <a:t>E</a:t>
            </a:r>
            <a:r>
              <a:rPr lang="en-US" altLang="ko-KR" sz="1200" spc="-50">
                <a:solidFill>
                  <a:srgbClr val="000000"/>
                </a:solidFill>
                <a:latin typeface="NOVA Bold"/>
                <a:ea typeface="NOVA Bold"/>
              </a:rPr>
              <a:t>njoy!</a:t>
            </a:r>
            <a:endParaRPr lang="ko-KR" altLang="en-US" sz="1200" spc="-50">
              <a:solidFill>
                <a:srgbClr val="000000"/>
              </a:solidFill>
              <a:latin typeface="NOVA Bold"/>
              <a:ea typeface="NOVA Bold"/>
            </a:endParaRPr>
          </a:p>
        </p:txBody>
      </p:sp>
      <p:sp>
        <p:nvSpPr>
          <p:cNvPr id="107" name="타원 106"/>
          <p:cNvSpPr/>
          <p:nvPr/>
        </p:nvSpPr>
        <p:spPr>
          <a:xfrm>
            <a:off x="6929520" y="5068319"/>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a:solidFill>
                  <a:srgbClr val="FF0000"/>
                </a:solidFill>
                <a:latin typeface="NOVA Bold"/>
                <a:ea typeface="NOVA Bold"/>
              </a:rPr>
              <a:t>B</a:t>
            </a:r>
            <a:r>
              <a:rPr lang="en-US" altLang="ko-KR" sz="1200">
                <a:solidFill>
                  <a:srgbClr val="000000"/>
                </a:solidFill>
                <a:latin typeface="NOVA Bold"/>
                <a:ea typeface="NOVA Bold"/>
              </a:rPr>
              <a:t>uy!</a:t>
            </a:r>
            <a:endParaRPr lang="ko-KR" altLang="en-US" sz="1200">
              <a:solidFill>
                <a:srgbClr val="000000"/>
              </a:solidFill>
              <a:latin typeface="NOVA Bold"/>
              <a:ea typeface="NOVA Bold"/>
            </a:endParaRPr>
          </a:p>
        </p:txBody>
      </p:sp>
      <p:cxnSp>
        <p:nvCxnSpPr>
          <p:cNvPr id="108" name="직선 화살표 연결선 107"/>
          <p:cNvCxnSpPr/>
          <p:nvPr/>
        </p:nvCxnSpPr>
        <p:spPr>
          <a:xfrm flipH="1">
            <a:off x="5361024" y="4682613"/>
            <a:ext cx="0" cy="104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09" name="직선 화살표 연결선 108"/>
          <p:cNvCxnSpPr/>
          <p:nvPr/>
        </p:nvCxnSpPr>
        <p:spPr>
          <a:xfrm flipH="1">
            <a:off x="6433732" y="4682613"/>
            <a:ext cx="0" cy="104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10" name="직선 화살표 연결선 109"/>
          <p:cNvCxnSpPr/>
          <p:nvPr/>
        </p:nvCxnSpPr>
        <p:spPr>
          <a:xfrm flipH="1">
            <a:off x="6970086" y="4682613"/>
            <a:ext cx="0" cy="32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11" name="직선 화살표 연결선 110"/>
          <p:cNvCxnSpPr/>
          <p:nvPr/>
        </p:nvCxnSpPr>
        <p:spPr>
          <a:xfrm flipH="1">
            <a:off x="7506440" y="4682613"/>
            <a:ext cx="0" cy="32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12" name="직선 화살표 연결선 111"/>
          <p:cNvCxnSpPr/>
          <p:nvPr/>
        </p:nvCxnSpPr>
        <p:spPr>
          <a:xfrm flipH="1">
            <a:off x="8042792" y="4682613"/>
            <a:ext cx="0" cy="104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sp>
        <p:nvSpPr>
          <p:cNvPr id="113" name="타원 112"/>
          <p:cNvSpPr/>
          <p:nvPr/>
        </p:nvSpPr>
        <p:spPr>
          <a:xfrm>
            <a:off x="7733124" y="5788737"/>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spc="-50">
                <a:solidFill>
                  <a:srgbClr val="FF0000"/>
                </a:solidFill>
                <a:latin typeface="NOVA Bold"/>
                <a:ea typeface="NOVA Bold"/>
              </a:rPr>
              <a:t>D</a:t>
            </a:r>
            <a:r>
              <a:rPr lang="en-US" altLang="ko-KR" sz="1200" spc="-50">
                <a:solidFill>
                  <a:srgbClr val="000000"/>
                </a:solidFill>
                <a:latin typeface="NOVA Bold"/>
                <a:ea typeface="NOVA Bold"/>
              </a:rPr>
              <a:t>rink!</a:t>
            </a:r>
            <a:endParaRPr lang="ko-KR" altLang="en-US" sz="1200" spc="-50">
              <a:solidFill>
                <a:srgbClr val="000000"/>
              </a:solidFill>
              <a:latin typeface="NOVA Bold"/>
              <a:ea typeface="NOVA Bold"/>
            </a:endParaRPr>
          </a:p>
        </p:txBody>
      </p:sp>
      <p:sp>
        <p:nvSpPr>
          <p:cNvPr id="114" name="직사각형 113"/>
          <p:cNvSpPr/>
          <p:nvPr/>
        </p:nvSpPr>
        <p:spPr>
          <a:xfrm>
            <a:off x="5683848"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숙박</a:t>
            </a:r>
          </a:p>
        </p:txBody>
      </p:sp>
      <p:sp>
        <p:nvSpPr>
          <p:cNvPr id="115" name="직사각형 114"/>
          <p:cNvSpPr/>
          <p:nvPr/>
        </p:nvSpPr>
        <p:spPr>
          <a:xfrm>
            <a:off x="8330792" y="4077128"/>
            <a:ext cx="288000" cy="504000"/>
          </a:xfrm>
          <a:prstGeom prst="rect">
            <a:avLst/>
          </a:prstGeom>
          <a:noFill/>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a:solidFill>
                  <a:srgbClr val="FFFFFF">
                    <a:lumMod val="65000"/>
                  </a:srgbClr>
                </a:solidFill>
                <a:latin typeface="NOVA Bold"/>
                <a:ea typeface="NOVA Bold"/>
              </a:rPr>
              <a:t>기타</a:t>
            </a:r>
          </a:p>
        </p:txBody>
      </p:sp>
      <p:sp>
        <p:nvSpPr>
          <p:cNvPr id="116" name="타원 115"/>
          <p:cNvSpPr/>
          <p:nvPr/>
        </p:nvSpPr>
        <p:spPr>
          <a:xfrm>
            <a:off x="5588636" y="5068319"/>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spc="-50">
                <a:solidFill>
                  <a:srgbClr val="FF0000"/>
                </a:solidFill>
                <a:latin typeface="NOVA Bold"/>
                <a:ea typeface="NOVA Bold"/>
              </a:rPr>
              <a:t>S</a:t>
            </a:r>
            <a:r>
              <a:rPr lang="en-US" altLang="ko-KR" sz="1200" spc="-50">
                <a:solidFill>
                  <a:srgbClr val="000000"/>
                </a:solidFill>
                <a:latin typeface="NOVA Bold"/>
                <a:ea typeface="NOVA Bold"/>
              </a:rPr>
              <a:t>leep!</a:t>
            </a:r>
            <a:endParaRPr lang="ko-KR" altLang="en-US" sz="1200" spc="-50">
              <a:solidFill>
                <a:srgbClr val="000000"/>
              </a:solidFill>
              <a:latin typeface="NOVA Bold"/>
              <a:ea typeface="NOVA Bold"/>
            </a:endParaRPr>
          </a:p>
        </p:txBody>
      </p:sp>
      <p:cxnSp>
        <p:nvCxnSpPr>
          <p:cNvPr id="117" name="직선 화살표 연결선 116"/>
          <p:cNvCxnSpPr/>
          <p:nvPr/>
        </p:nvCxnSpPr>
        <p:spPr>
          <a:xfrm flipH="1">
            <a:off x="5897378" y="4682613"/>
            <a:ext cx="0" cy="32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sp>
        <p:nvSpPr>
          <p:cNvPr id="50" name="모서리가 둥근 직사각형 49"/>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3</a:t>
            </a:r>
            <a:endParaRPr lang="ko-KR" altLang="en-US" sz="16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75128533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779912" y="3542194"/>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39906762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a:t>] </a:t>
            </a:r>
            <a:r>
              <a:rPr lang="ko-KR" altLang="en-US" smtClean="0"/>
              <a:t>업종</a:t>
            </a:r>
            <a:r>
              <a:rPr lang="en-US" altLang="ko-KR">
                <a:sym typeface="Wingdings 2"/>
              </a:rPr>
              <a:t></a:t>
            </a:r>
            <a:r>
              <a:rPr lang="ko-KR" altLang="en-US"/>
              <a:t>지역</a:t>
            </a:r>
            <a:r>
              <a:rPr lang="en-US" altLang="ko-KR">
                <a:sym typeface="Wingdings 2"/>
              </a:rPr>
              <a:t></a:t>
            </a:r>
            <a:r>
              <a:rPr lang="ko-KR" altLang="en-US"/>
              <a:t>매장 </a:t>
            </a:r>
            <a:r>
              <a:rPr lang="en-US" altLang="ko-KR" sz="1800"/>
              <a:t>(’15.9~’16.8</a:t>
            </a:r>
            <a:r>
              <a:rPr lang="ko-KR" altLang="en-US" sz="1800"/>
              <a:t>월</a:t>
            </a:r>
            <a:r>
              <a:rPr lang="en-US" altLang="ko-KR" sz="1800"/>
              <a:t>)</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30">
                <a:ln>
                  <a:solidFill>
                    <a:prstClr val="black">
                      <a:alpha val="20000"/>
                    </a:prstClr>
                  </a:solidFill>
                </a:ln>
                <a:solidFill>
                  <a:srgbClr val="000000"/>
                </a:solidFill>
                <a:latin typeface="NOVA Bold"/>
                <a:ea typeface="NOVA Bold"/>
                <a:cs typeface="Arial" pitchFamily="34" charset="0"/>
              </a:rPr>
              <a:t>중국인 관광객의 소비는 노형동</a:t>
            </a:r>
            <a:r>
              <a:rPr lang="en-US" altLang="ko-KR" sz="1600" spc="30">
                <a:ln>
                  <a:solidFill>
                    <a:prstClr val="black">
                      <a:alpha val="20000"/>
                    </a:prstClr>
                  </a:solidFill>
                </a:ln>
                <a:solidFill>
                  <a:srgbClr val="000000"/>
                </a:solidFill>
                <a:latin typeface="NOVA Bold"/>
                <a:ea typeface="NOVA Bold"/>
                <a:cs typeface="Arial" pitchFamily="34" charset="0"/>
              </a:rPr>
              <a:t>, </a:t>
            </a:r>
            <a:r>
              <a:rPr lang="ko-KR" altLang="en-US" sz="1600" spc="30">
                <a:ln>
                  <a:solidFill>
                    <a:prstClr val="black">
                      <a:alpha val="20000"/>
                    </a:prstClr>
                  </a:solidFill>
                </a:ln>
                <a:solidFill>
                  <a:srgbClr val="000000"/>
                </a:solidFill>
                <a:latin typeface="NOVA Bold"/>
                <a:ea typeface="NOVA Bold"/>
                <a:cs typeface="Arial" pitchFamily="34" charset="0"/>
              </a:rPr>
              <a:t>연동</a:t>
            </a:r>
            <a:r>
              <a:rPr lang="en-US" altLang="ko-KR" sz="1600" spc="30">
                <a:ln>
                  <a:solidFill>
                    <a:prstClr val="black">
                      <a:alpha val="20000"/>
                    </a:prstClr>
                  </a:solidFill>
                </a:ln>
                <a:solidFill>
                  <a:srgbClr val="000000"/>
                </a:solidFill>
                <a:latin typeface="NOVA Bold"/>
                <a:ea typeface="NOVA Bold"/>
                <a:cs typeface="Arial" pitchFamily="34" charset="0"/>
              </a:rPr>
              <a:t>, </a:t>
            </a:r>
            <a:r>
              <a:rPr lang="ko-KR" altLang="en-US" sz="1600" spc="30">
                <a:ln>
                  <a:solidFill>
                    <a:prstClr val="black">
                      <a:alpha val="20000"/>
                    </a:prstClr>
                  </a:solidFill>
                </a:ln>
                <a:solidFill>
                  <a:srgbClr val="000000"/>
                </a:solidFill>
                <a:latin typeface="NOVA Bold"/>
                <a:ea typeface="NOVA Bold"/>
                <a:cs typeface="Arial" pitchFamily="34" charset="0"/>
              </a:rPr>
              <a:t>이도</a:t>
            </a:r>
            <a:r>
              <a:rPr lang="en-US" altLang="ko-KR" sz="1600" spc="30">
                <a:ln>
                  <a:solidFill>
                    <a:prstClr val="black">
                      <a:alpha val="20000"/>
                    </a:prstClr>
                  </a:solidFill>
                </a:ln>
                <a:solidFill>
                  <a:srgbClr val="000000"/>
                </a:solidFill>
                <a:latin typeface="NOVA Bold"/>
                <a:ea typeface="NOVA Bold"/>
                <a:cs typeface="Arial" pitchFamily="34" charset="0"/>
              </a:rPr>
              <a:t>2</a:t>
            </a:r>
            <a:r>
              <a:rPr lang="ko-KR" altLang="en-US" sz="1600" spc="30">
                <a:ln>
                  <a:solidFill>
                    <a:prstClr val="black">
                      <a:alpha val="20000"/>
                    </a:prstClr>
                  </a:solidFill>
                </a:ln>
                <a:solidFill>
                  <a:srgbClr val="000000"/>
                </a:solidFill>
                <a:latin typeface="NOVA Bold"/>
                <a:ea typeface="NOVA Bold"/>
                <a:cs typeface="Arial" pitchFamily="34" charset="0"/>
              </a:rPr>
              <a:t>동 등 제주시 도심 지역과 일부 동부 지역에서 많이 발생</a:t>
            </a:r>
            <a:endParaRPr lang="en-US" altLang="ko-KR" sz="1600" spc="3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국적별 소비 분석 </a:t>
            </a:r>
            <a:r>
              <a:rPr lang="en-US" altLang="ko-KR" smtClean="0"/>
              <a:t>– </a:t>
            </a:r>
            <a:r>
              <a:rPr lang="ko-KR" altLang="en-US" smtClean="0"/>
              <a:t>중국인 관광객 </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263" name="자유형 262"/>
          <p:cNvSpPr/>
          <p:nvPr/>
        </p:nvSpPr>
        <p:spPr>
          <a:xfrm>
            <a:off x="3308087" y="3031208"/>
            <a:ext cx="1104337" cy="1548609"/>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4" name="TextBox 263"/>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소비 상위 지역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265" name="자유형 264"/>
          <p:cNvSpPr/>
          <p:nvPr/>
        </p:nvSpPr>
        <p:spPr>
          <a:xfrm>
            <a:off x="2155880" y="4549986"/>
            <a:ext cx="1565514" cy="1367273"/>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6" name="자유형 265"/>
          <p:cNvSpPr/>
          <p:nvPr/>
        </p:nvSpPr>
        <p:spPr>
          <a:xfrm>
            <a:off x="509594" y="3095784"/>
            <a:ext cx="1043120" cy="700402"/>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67" name="자유형 266"/>
          <p:cNvSpPr/>
          <p:nvPr/>
        </p:nvSpPr>
        <p:spPr>
          <a:xfrm>
            <a:off x="6023231" y="3431082"/>
            <a:ext cx="191593" cy="238435"/>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8" name="자유형 267"/>
          <p:cNvSpPr/>
          <p:nvPr/>
        </p:nvSpPr>
        <p:spPr>
          <a:xfrm>
            <a:off x="1064860" y="4230210"/>
            <a:ext cx="94023" cy="80117"/>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9" name="자유형 268"/>
          <p:cNvSpPr/>
          <p:nvPr/>
        </p:nvSpPr>
        <p:spPr>
          <a:xfrm>
            <a:off x="431538" y="5176497"/>
            <a:ext cx="125955" cy="113634"/>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0" name="자유형 269"/>
          <p:cNvSpPr/>
          <p:nvPr/>
        </p:nvSpPr>
        <p:spPr>
          <a:xfrm>
            <a:off x="523787" y="3086471"/>
            <a:ext cx="205786" cy="216081"/>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1" name="자유형 270"/>
          <p:cNvSpPr/>
          <p:nvPr/>
        </p:nvSpPr>
        <p:spPr>
          <a:xfrm>
            <a:off x="757956" y="3267158"/>
            <a:ext cx="409798" cy="357652"/>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2" name="자유형 271"/>
          <p:cNvSpPr/>
          <p:nvPr/>
        </p:nvSpPr>
        <p:spPr>
          <a:xfrm>
            <a:off x="603262" y="4189602"/>
            <a:ext cx="1288644" cy="1055072"/>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3" name="자유형 272"/>
          <p:cNvSpPr/>
          <p:nvPr/>
        </p:nvSpPr>
        <p:spPr>
          <a:xfrm>
            <a:off x="603262" y="4940670"/>
            <a:ext cx="1169431" cy="1251781"/>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4" name="자유형 273"/>
          <p:cNvSpPr/>
          <p:nvPr/>
        </p:nvSpPr>
        <p:spPr>
          <a:xfrm>
            <a:off x="1625094" y="4708197"/>
            <a:ext cx="931003" cy="1126603"/>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5" name="자유형 274"/>
          <p:cNvSpPr/>
          <p:nvPr/>
        </p:nvSpPr>
        <p:spPr>
          <a:xfrm>
            <a:off x="1329899" y="3647163"/>
            <a:ext cx="1209168" cy="1216016"/>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6" name="자유형 275"/>
          <p:cNvSpPr/>
          <p:nvPr/>
        </p:nvSpPr>
        <p:spPr>
          <a:xfrm>
            <a:off x="1976113" y="3408729"/>
            <a:ext cx="1348250" cy="133125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7" name="자유형 276"/>
          <p:cNvSpPr/>
          <p:nvPr/>
        </p:nvSpPr>
        <p:spPr>
          <a:xfrm>
            <a:off x="2676258" y="3165326"/>
            <a:ext cx="1036024" cy="1388385"/>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pattFill prst="wdUpDiag">
            <a:fgClr>
              <a:srgbClr val="F0F8FA"/>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8" name="자유형 277"/>
          <p:cNvSpPr/>
          <p:nvPr/>
        </p:nvSpPr>
        <p:spPr>
          <a:xfrm>
            <a:off x="4265775" y="2916958"/>
            <a:ext cx="1641554" cy="133125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9" name="자유형 278"/>
          <p:cNvSpPr/>
          <p:nvPr/>
        </p:nvSpPr>
        <p:spPr>
          <a:xfrm>
            <a:off x="4774324" y="3445985"/>
            <a:ext cx="1380183" cy="1773357"/>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80" name="자유형 279"/>
          <p:cNvSpPr/>
          <p:nvPr/>
        </p:nvSpPr>
        <p:spPr>
          <a:xfrm>
            <a:off x="3787973" y="4042070"/>
            <a:ext cx="1589517" cy="138962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81" name="자유형 280"/>
          <p:cNvSpPr/>
          <p:nvPr/>
        </p:nvSpPr>
        <p:spPr>
          <a:xfrm>
            <a:off x="3305442" y="4459331"/>
            <a:ext cx="1497267" cy="1370997"/>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82" name="TextBox 281"/>
          <p:cNvSpPr txBox="1"/>
          <p:nvPr/>
        </p:nvSpPr>
        <p:spPr>
          <a:xfrm>
            <a:off x="626679" y="3040212"/>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83" name="TextBox 282"/>
          <p:cNvSpPr txBox="1"/>
          <p:nvPr/>
        </p:nvSpPr>
        <p:spPr>
          <a:xfrm>
            <a:off x="603262" y="4789166"/>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84" name="TextBox 283"/>
          <p:cNvSpPr txBox="1"/>
          <p:nvPr/>
        </p:nvSpPr>
        <p:spPr>
          <a:xfrm>
            <a:off x="854937" y="5193196"/>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85" name="TextBox 284"/>
          <p:cNvSpPr txBox="1"/>
          <p:nvPr/>
        </p:nvSpPr>
        <p:spPr>
          <a:xfrm>
            <a:off x="1334752" y="4067785"/>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86" name="TextBox 285"/>
          <p:cNvSpPr txBox="1"/>
          <p:nvPr/>
        </p:nvSpPr>
        <p:spPr>
          <a:xfrm>
            <a:off x="1979712" y="3897052"/>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애월읍</a:t>
            </a:r>
          </a:p>
        </p:txBody>
      </p:sp>
      <p:sp>
        <p:nvSpPr>
          <p:cNvPr id="287" name="TextBox 286"/>
          <p:cNvSpPr txBox="1"/>
          <p:nvPr/>
        </p:nvSpPr>
        <p:spPr>
          <a:xfrm>
            <a:off x="3653970" y="3321967"/>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88" name="TextBox 287"/>
          <p:cNvSpPr txBox="1"/>
          <p:nvPr/>
        </p:nvSpPr>
        <p:spPr>
          <a:xfrm>
            <a:off x="5698687" y="3221533"/>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89" name="TextBox 288"/>
          <p:cNvSpPr txBox="1"/>
          <p:nvPr/>
        </p:nvSpPr>
        <p:spPr>
          <a:xfrm>
            <a:off x="5035027" y="4150491"/>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성산읍</a:t>
            </a:r>
          </a:p>
        </p:txBody>
      </p:sp>
      <p:sp>
        <p:nvSpPr>
          <p:cNvPr id="290" name="TextBox 289"/>
          <p:cNvSpPr txBox="1"/>
          <p:nvPr/>
        </p:nvSpPr>
        <p:spPr>
          <a:xfrm>
            <a:off x="4084259" y="4293096"/>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표선면</a:t>
            </a:r>
          </a:p>
        </p:txBody>
      </p:sp>
      <p:sp>
        <p:nvSpPr>
          <p:cNvPr id="291" name="TextBox 290"/>
          <p:cNvSpPr txBox="1"/>
          <p:nvPr/>
        </p:nvSpPr>
        <p:spPr>
          <a:xfrm>
            <a:off x="3827730" y="5121188"/>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93" name="자유형 292"/>
          <p:cNvSpPr/>
          <p:nvPr/>
        </p:nvSpPr>
        <p:spPr>
          <a:xfrm>
            <a:off x="3417663" y="5930919"/>
            <a:ext cx="78056" cy="5029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4" name="자유형 293"/>
          <p:cNvSpPr/>
          <p:nvPr/>
        </p:nvSpPr>
        <p:spPr>
          <a:xfrm>
            <a:off x="3156883" y="5998900"/>
            <a:ext cx="86927" cy="64487"/>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5" name="TextBox 294"/>
          <p:cNvSpPr txBox="1"/>
          <p:nvPr/>
        </p:nvSpPr>
        <p:spPr>
          <a:xfrm>
            <a:off x="1612243" y="5044884"/>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안덕면</a:t>
            </a:r>
          </a:p>
        </p:txBody>
      </p:sp>
      <p:sp>
        <p:nvSpPr>
          <p:cNvPr id="296" name="TextBox 295"/>
          <p:cNvSpPr txBox="1"/>
          <p:nvPr/>
        </p:nvSpPr>
        <p:spPr>
          <a:xfrm>
            <a:off x="4480634" y="3368978"/>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97" name="자유형 296"/>
          <p:cNvSpPr/>
          <p:nvPr/>
        </p:nvSpPr>
        <p:spPr>
          <a:xfrm>
            <a:off x="1433038" y="6316841"/>
            <a:ext cx="86927" cy="64487"/>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8" name="타원 297"/>
          <p:cNvSpPr/>
          <p:nvPr/>
        </p:nvSpPr>
        <p:spPr>
          <a:xfrm>
            <a:off x="6840252" y="2451313"/>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99" name="타원 298"/>
          <p:cNvSpPr/>
          <p:nvPr/>
        </p:nvSpPr>
        <p:spPr>
          <a:xfrm>
            <a:off x="6840252" y="2695448"/>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300" name="타원 299"/>
          <p:cNvSpPr/>
          <p:nvPr/>
        </p:nvSpPr>
        <p:spPr>
          <a:xfrm>
            <a:off x="6840252" y="2939583"/>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01" name="타원 300"/>
          <p:cNvSpPr/>
          <p:nvPr/>
        </p:nvSpPr>
        <p:spPr>
          <a:xfrm>
            <a:off x="6840252" y="3183718"/>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02" name="TextBox 301"/>
          <p:cNvSpPr txBox="1"/>
          <p:nvPr/>
        </p:nvSpPr>
        <p:spPr>
          <a:xfrm>
            <a:off x="7075816" y="2430243"/>
            <a:ext cx="1158659" cy="931024"/>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식음료</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숙박</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교통</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문화</a:t>
            </a:r>
            <a:r>
              <a:rPr lang="en-US" altLang="ko-KR" sz="1200">
                <a:solidFill>
                  <a:srgbClr val="000000">
                    <a:lumMod val="65000"/>
                    <a:lumOff val="35000"/>
                  </a:srgbClr>
                </a:solidFill>
                <a:latin typeface="누리 L" panose="02020603020101020101" pitchFamily="18" charset="-127"/>
                <a:ea typeface="누리 L" panose="02020603020101020101" pitchFamily="18" charset="-127"/>
              </a:rPr>
              <a:t>/</a:t>
            </a:r>
            <a:r>
              <a:rPr lang="ko-KR" altLang="en-US" sz="1200">
                <a:solidFill>
                  <a:srgbClr val="000000">
                    <a:lumMod val="65000"/>
                    <a:lumOff val="35000"/>
                  </a:srgbClr>
                </a:solidFill>
                <a:latin typeface="누리 L" panose="02020603020101020101" pitchFamily="18" charset="-127"/>
                <a:ea typeface="누리 L" panose="02020603020101020101" pitchFamily="18" charset="-127"/>
              </a:rPr>
              <a:t>레져</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p:txBody>
      </p:sp>
      <p:grpSp>
        <p:nvGrpSpPr>
          <p:cNvPr id="303" name="그룹 302"/>
          <p:cNvGrpSpPr/>
          <p:nvPr/>
        </p:nvGrpSpPr>
        <p:grpSpPr>
          <a:xfrm>
            <a:off x="7806288" y="2451313"/>
            <a:ext cx="180000" cy="668269"/>
            <a:chOff x="7138217" y="3427853"/>
            <a:chExt cx="180000" cy="668269"/>
          </a:xfrm>
        </p:grpSpPr>
        <p:sp>
          <p:nvSpPr>
            <p:cNvPr id="304" name="타원 303"/>
            <p:cNvSpPr/>
            <p:nvPr/>
          </p:nvSpPr>
          <p:spPr>
            <a:xfrm>
              <a:off x="7138217" y="3427853"/>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305" name="타원 304"/>
            <p:cNvSpPr/>
            <p:nvPr/>
          </p:nvSpPr>
          <p:spPr>
            <a:xfrm>
              <a:off x="7138217" y="3671988"/>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306" name="타원 305"/>
            <p:cNvSpPr/>
            <p:nvPr/>
          </p:nvSpPr>
          <p:spPr>
            <a:xfrm>
              <a:off x="7138217" y="3916122"/>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grpSp>
      <p:sp>
        <p:nvSpPr>
          <p:cNvPr id="307" name="타원 306"/>
          <p:cNvSpPr/>
          <p:nvPr/>
        </p:nvSpPr>
        <p:spPr>
          <a:xfrm>
            <a:off x="3339481" y="3602386"/>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08" name="타원 307"/>
          <p:cNvSpPr/>
          <p:nvPr/>
        </p:nvSpPr>
        <p:spPr>
          <a:xfrm>
            <a:off x="2911403" y="3602386"/>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309" name="타원 308"/>
          <p:cNvSpPr/>
          <p:nvPr/>
        </p:nvSpPr>
        <p:spPr>
          <a:xfrm>
            <a:off x="3125442" y="3602386"/>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310" name="타원 309"/>
          <p:cNvSpPr/>
          <p:nvPr/>
        </p:nvSpPr>
        <p:spPr>
          <a:xfrm>
            <a:off x="3125442" y="3831868"/>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311" name="타원 310"/>
          <p:cNvSpPr/>
          <p:nvPr/>
        </p:nvSpPr>
        <p:spPr>
          <a:xfrm>
            <a:off x="3339481" y="3831868"/>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312" name="타원 311"/>
          <p:cNvSpPr/>
          <p:nvPr/>
        </p:nvSpPr>
        <p:spPr>
          <a:xfrm>
            <a:off x="3339481" y="4050197"/>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313" name="TextBox 312"/>
          <p:cNvSpPr txBox="1"/>
          <p:nvPr/>
        </p:nvSpPr>
        <p:spPr>
          <a:xfrm>
            <a:off x="8018451" y="2430243"/>
            <a:ext cx="726829" cy="68223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쇼핑</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소매</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유흥</a:t>
            </a:r>
          </a:p>
        </p:txBody>
      </p:sp>
      <p:sp>
        <p:nvSpPr>
          <p:cNvPr id="314" name="타원 313"/>
          <p:cNvSpPr/>
          <p:nvPr/>
        </p:nvSpPr>
        <p:spPr>
          <a:xfrm>
            <a:off x="6029027" y="3477952"/>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15" name="타원 314"/>
          <p:cNvSpPr/>
          <p:nvPr/>
        </p:nvSpPr>
        <p:spPr>
          <a:xfrm>
            <a:off x="2282361" y="4142051"/>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16" name="타원 315"/>
          <p:cNvSpPr/>
          <p:nvPr/>
        </p:nvSpPr>
        <p:spPr>
          <a:xfrm>
            <a:off x="1914892" y="5280062"/>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17" name="타원 316"/>
          <p:cNvSpPr/>
          <p:nvPr/>
        </p:nvSpPr>
        <p:spPr>
          <a:xfrm>
            <a:off x="2911403" y="3831868"/>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18" name="타원 317"/>
          <p:cNvSpPr/>
          <p:nvPr/>
        </p:nvSpPr>
        <p:spPr>
          <a:xfrm>
            <a:off x="4391980" y="4512456"/>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321" name="타원 320"/>
          <p:cNvSpPr/>
          <p:nvPr/>
        </p:nvSpPr>
        <p:spPr>
          <a:xfrm>
            <a:off x="2557753" y="5331545"/>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322" name="타원 321"/>
          <p:cNvSpPr/>
          <p:nvPr/>
        </p:nvSpPr>
        <p:spPr>
          <a:xfrm>
            <a:off x="2776092" y="5331545"/>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23" name="타원 322"/>
          <p:cNvSpPr/>
          <p:nvPr/>
        </p:nvSpPr>
        <p:spPr>
          <a:xfrm>
            <a:off x="2994431" y="5331545"/>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24" name="타원 323"/>
          <p:cNvSpPr/>
          <p:nvPr/>
        </p:nvSpPr>
        <p:spPr>
          <a:xfrm>
            <a:off x="3431109" y="5331545"/>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325" name="모서리가 둥근 사각형 설명선 324"/>
          <p:cNvSpPr/>
          <p:nvPr/>
        </p:nvSpPr>
        <p:spPr>
          <a:xfrm>
            <a:off x="1622101" y="2683583"/>
            <a:ext cx="1077691" cy="537950"/>
          </a:xfrm>
          <a:prstGeom prst="wedgeRoundRectCallout">
            <a:avLst>
              <a:gd name="adj1" fmla="val 70461"/>
              <a:gd name="adj2" fmla="val 122242"/>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용담</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endParaRPr lang="en-US" altLang="ko-KR" sz="1200">
              <a:solidFill>
                <a:srgbClr val="000000"/>
              </a:solidFill>
              <a:latin typeface="NOVA Bold"/>
              <a:ea typeface="NOVA Bold"/>
            </a:endParaRPr>
          </a:p>
          <a:p>
            <a:pPr algn="ctr">
              <a:lnSpc>
                <a:spcPct val="110000"/>
              </a:lnSpc>
            </a:pPr>
            <a:r>
              <a:rPr lang="ko-KR" altLang="en-US" sz="1200">
                <a:solidFill>
                  <a:srgbClr val="FF0000"/>
                </a:solidFill>
                <a:latin typeface="NOVA Bold"/>
                <a:ea typeface="NOVA Bold"/>
              </a:rPr>
              <a:t>노형동</a:t>
            </a:r>
            <a:endParaRPr lang="ko-KR" altLang="en-US" sz="1200">
              <a:solidFill>
                <a:srgbClr val="000000"/>
              </a:solidFill>
              <a:latin typeface="NOVA Bold"/>
              <a:ea typeface="NOVA Bold"/>
            </a:endParaRPr>
          </a:p>
        </p:txBody>
      </p:sp>
      <p:sp>
        <p:nvSpPr>
          <p:cNvPr id="326" name="모서리가 둥근 사각형 설명선 325"/>
          <p:cNvSpPr/>
          <p:nvPr/>
        </p:nvSpPr>
        <p:spPr>
          <a:xfrm>
            <a:off x="2741414" y="2683583"/>
            <a:ext cx="897542" cy="543919"/>
          </a:xfrm>
          <a:prstGeom prst="wedgeRoundRectCallout">
            <a:avLst>
              <a:gd name="adj1" fmla="val 1528"/>
              <a:gd name="adj2" fmla="val 11339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a:t>
            </a:r>
            <a:r>
              <a:rPr lang="ko-KR" altLang="en-US" sz="1200">
                <a:solidFill>
                  <a:srgbClr val="000000"/>
                </a:solidFill>
                <a:latin typeface="NOVA Bold"/>
                <a:ea typeface="NOVA Bold"/>
              </a:rPr>
              <a:t>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노형동</a:t>
            </a:r>
          </a:p>
        </p:txBody>
      </p:sp>
      <p:sp>
        <p:nvSpPr>
          <p:cNvPr id="327" name="모서리가 둥근 사각형 설명선 326"/>
          <p:cNvSpPr/>
          <p:nvPr/>
        </p:nvSpPr>
        <p:spPr>
          <a:xfrm>
            <a:off x="3681527" y="2683583"/>
            <a:ext cx="1230207" cy="537950"/>
          </a:xfrm>
          <a:prstGeom prst="wedgeRoundRectCallout">
            <a:avLst>
              <a:gd name="adj1" fmla="val -60364"/>
              <a:gd name="adj2" fmla="val 126491"/>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용담</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r>
              <a:rPr lang="en-US" altLang="ko-KR" sz="1200">
                <a:solidFill>
                  <a:srgbClr val="000000"/>
                </a:solidFill>
                <a:latin typeface="NOVA Bold"/>
                <a:ea typeface="NOVA Bold"/>
              </a:rPr>
              <a:t>,</a:t>
            </a:r>
          </a:p>
          <a:p>
            <a:pPr algn="ctr">
              <a:lnSpc>
                <a:spcPct val="110000"/>
              </a:lnSpc>
            </a:pP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sp>
        <p:nvSpPr>
          <p:cNvPr id="328" name="모서리가 둥근 사각형 설명선 327"/>
          <p:cNvSpPr/>
          <p:nvPr/>
        </p:nvSpPr>
        <p:spPr>
          <a:xfrm>
            <a:off x="1790789" y="5645149"/>
            <a:ext cx="604800" cy="543600"/>
          </a:xfrm>
          <a:prstGeom prst="wedgeRoundRectCallout">
            <a:avLst>
              <a:gd name="adj1" fmla="val 77729"/>
              <a:gd name="adj2" fmla="val -64455"/>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예래동</a:t>
            </a:r>
            <a:r>
              <a:rPr lang="en-US" altLang="ko-KR" sz="1200">
                <a:solidFill>
                  <a:srgbClr val="000000"/>
                </a:solidFill>
                <a:latin typeface="NOVA Bold"/>
                <a:ea typeface="NOVA Bold"/>
              </a:rPr>
              <a:t>,</a:t>
            </a:r>
            <a:r>
              <a:rPr lang="ko-KR" altLang="en-US" sz="1200">
                <a:solidFill>
                  <a:srgbClr val="000000"/>
                </a:solidFill>
                <a:latin typeface="NOVA Bold"/>
                <a:ea typeface="NOVA Bold"/>
              </a:rPr>
              <a:t>중문동</a:t>
            </a:r>
          </a:p>
        </p:txBody>
      </p:sp>
      <p:sp>
        <p:nvSpPr>
          <p:cNvPr id="329" name="모서리가 둥근 사각형 설명선 328"/>
          <p:cNvSpPr/>
          <p:nvPr/>
        </p:nvSpPr>
        <p:spPr>
          <a:xfrm>
            <a:off x="1651991" y="3537012"/>
            <a:ext cx="603123" cy="306000"/>
          </a:xfrm>
          <a:prstGeom prst="wedgeRoundRectCallout">
            <a:avLst>
              <a:gd name="adj1" fmla="val 151219"/>
              <a:gd name="adj2" fmla="val 5399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sp>
        <p:nvSpPr>
          <p:cNvPr id="330" name="TextBox 329"/>
          <p:cNvSpPr txBox="1"/>
          <p:nvPr/>
        </p:nvSpPr>
        <p:spPr>
          <a:xfrm>
            <a:off x="2673313" y="3349586"/>
            <a:ext cx="1008214"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제주시 도심</a:t>
            </a:r>
          </a:p>
        </p:txBody>
      </p:sp>
      <p:sp>
        <p:nvSpPr>
          <p:cNvPr id="331" name="모서리가 둥근 사각형 설명선 330"/>
          <p:cNvSpPr/>
          <p:nvPr/>
        </p:nvSpPr>
        <p:spPr>
          <a:xfrm>
            <a:off x="2127852" y="6237274"/>
            <a:ext cx="603123" cy="306000"/>
          </a:xfrm>
          <a:prstGeom prst="wedgeRoundRectCallout">
            <a:avLst>
              <a:gd name="adj1" fmla="val 68665"/>
              <a:gd name="adj2" fmla="val -26861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천지동</a:t>
            </a:r>
          </a:p>
        </p:txBody>
      </p:sp>
      <p:sp>
        <p:nvSpPr>
          <p:cNvPr id="332" name="모서리가 둥근 사각형 설명선 331"/>
          <p:cNvSpPr/>
          <p:nvPr/>
        </p:nvSpPr>
        <p:spPr>
          <a:xfrm>
            <a:off x="2823880" y="5895106"/>
            <a:ext cx="603123" cy="543919"/>
          </a:xfrm>
          <a:prstGeom prst="wedgeRoundRectCallout">
            <a:avLst>
              <a:gd name="adj1" fmla="val -11836"/>
              <a:gd name="adj2" fmla="val -114048"/>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중문동</a:t>
            </a:r>
            <a:r>
              <a:rPr lang="en-US" altLang="ko-KR" sz="1200">
                <a:solidFill>
                  <a:srgbClr val="000000"/>
                </a:solidFill>
                <a:latin typeface="NOVA Bold"/>
                <a:ea typeface="NOVA Bold"/>
              </a:rPr>
              <a:t>,</a:t>
            </a:r>
          </a:p>
          <a:p>
            <a:pPr algn="ctr">
              <a:lnSpc>
                <a:spcPct val="110000"/>
              </a:lnSpc>
            </a:pPr>
            <a:r>
              <a:rPr lang="ko-KR" altLang="en-US" sz="1200">
                <a:solidFill>
                  <a:srgbClr val="FF0000"/>
                </a:solidFill>
                <a:latin typeface="NOVA Bold"/>
                <a:ea typeface="NOVA Bold"/>
              </a:rPr>
              <a:t>예래동</a:t>
            </a:r>
          </a:p>
        </p:txBody>
      </p:sp>
      <p:sp>
        <p:nvSpPr>
          <p:cNvPr id="333" name="모서리가 둥근 사각형 설명선 332"/>
          <p:cNvSpPr/>
          <p:nvPr/>
        </p:nvSpPr>
        <p:spPr>
          <a:xfrm>
            <a:off x="1835696" y="4450904"/>
            <a:ext cx="1077691" cy="537950"/>
          </a:xfrm>
          <a:prstGeom prst="wedgeRoundRectCallout">
            <a:avLst>
              <a:gd name="adj1" fmla="val 70461"/>
              <a:gd name="adj2" fmla="val -127726"/>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용담</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000000"/>
                </a:solidFill>
                <a:latin typeface="NOVA Bold"/>
                <a:ea typeface="NOVA Bold"/>
              </a:rPr>
              <a:t>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334" name="모서리가 둥근 사각형 설명선 333"/>
          <p:cNvSpPr/>
          <p:nvPr/>
        </p:nvSpPr>
        <p:spPr>
          <a:xfrm>
            <a:off x="3860255" y="3615677"/>
            <a:ext cx="1077691" cy="537950"/>
          </a:xfrm>
          <a:prstGeom prst="wedgeRoundRectCallout">
            <a:avLst>
              <a:gd name="adj1" fmla="val -77607"/>
              <a:gd name="adj2" fmla="val 892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r>
              <a:rPr lang="en-US" altLang="ko-KR" sz="1200">
                <a:solidFill>
                  <a:srgbClr val="000000"/>
                </a:solidFill>
                <a:latin typeface="NOVA Bold"/>
                <a:ea typeface="NOVA Bold"/>
              </a:rPr>
              <a:t>,</a:t>
            </a:r>
          </a:p>
          <a:p>
            <a:pPr algn="ctr">
              <a:lnSpc>
                <a:spcPct val="110000"/>
              </a:lnSpc>
            </a:pPr>
            <a:r>
              <a:rPr lang="ko-KR" altLang="en-US" sz="1200">
                <a:solidFill>
                  <a:srgbClr val="000000"/>
                </a:solidFill>
                <a:latin typeface="NOVA Bold"/>
                <a:ea typeface="NOVA Bold"/>
              </a:rPr>
              <a:t>오라동</a:t>
            </a:r>
            <a:r>
              <a:rPr lang="en-US" altLang="ko-KR" sz="1200">
                <a:solidFill>
                  <a:srgbClr val="000000"/>
                </a:solidFill>
                <a:latin typeface="NOVA Bold"/>
                <a:ea typeface="NOVA Bold"/>
              </a:rPr>
              <a:t>, </a:t>
            </a:r>
            <a:r>
              <a:rPr lang="ko-KR" altLang="en-US" sz="1200">
                <a:solidFill>
                  <a:srgbClr val="000000"/>
                </a:solidFill>
                <a:latin typeface="NOVA Bold"/>
                <a:ea typeface="NOVA Bold"/>
              </a:rPr>
              <a:t>이호동</a:t>
            </a:r>
          </a:p>
        </p:txBody>
      </p:sp>
      <p:sp>
        <p:nvSpPr>
          <p:cNvPr id="335" name="모서리가 둥근 사각형 설명선 334"/>
          <p:cNvSpPr/>
          <p:nvPr/>
        </p:nvSpPr>
        <p:spPr>
          <a:xfrm>
            <a:off x="3721394" y="5514845"/>
            <a:ext cx="603123" cy="304203"/>
          </a:xfrm>
          <a:prstGeom prst="wedgeRoundRectCallout">
            <a:avLst>
              <a:gd name="adj1" fmla="val -61602"/>
              <a:gd name="adj2" fmla="val -72015"/>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정방동</a:t>
            </a:r>
          </a:p>
        </p:txBody>
      </p:sp>
      <p:sp>
        <p:nvSpPr>
          <p:cNvPr id="336" name="모서리가 둥근 사각형 설명선 335"/>
          <p:cNvSpPr/>
          <p:nvPr/>
        </p:nvSpPr>
        <p:spPr>
          <a:xfrm>
            <a:off x="3001403" y="4450904"/>
            <a:ext cx="1077691" cy="537950"/>
          </a:xfrm>
          <a:prstGeom prst="wedgeRoundRectCallout">
            <a:avLst>
              <a:gd name="adj1" fmla="val -11892"/>
              <a:gd name="adj2" fmla="val -82732"/>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a:t>
            </a:r>
          </a:p>
          <a:p>
            <a:pPr algn="ctr">
              <a:lnSpc>
                <a:spcPct val="110000"/>
              </a:lnSpc>
            </a:pP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sp>
        <p:nvSpPr>
          <p:cNvPr id="337" name="타원 336"/>
          <p:cNvSpPr/>
          <p:nvPr/>
        </p:nvSpPr>
        <p:spPr>
          <a:xfrm>
            <a:off x="2339414" y="5331545"/>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338" name="모서리가 둥근 사각형 설명선 337"/>
          <p:cNvSpPr/>
          <p:nvPr/>
        </p:nvSpPr>
        <p:spPr>
          <a:xfrm>
            <a:off x="899592" y="5445224"/>
            <a:ext cx="603123" cy="306000"/>
          </a:xfrm>
          <a:prstGeom prst="wedgeRoundRectCallout">
            <a:avLst>
              <a:gd name="adj1" fmla="val 191351"/>
              <a:gd name="adj2" fmla="val -33890"/>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예래동</a:t>
            </a:r>
          </a:p>
        </p:txBody>
      </p:sp>
      <p:sp>
        <p:nvSpPr>
          <p:cNvPr id="339" name="타원 338"/>
          <p:cNvSpPr/>
          <p:nvPr/>
        </p:nvSpPr>
        <p:spPr>
          <a:xfrm>
            <a:off x="1700789" y="5280062"/>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342" name="TextBox 341"/>
          <p:cNvSpPr txBox="1"/>
          <p:nvPr/>
        </p:nvSpPr>
        <p:spPr>
          <a:xfrm>
            <a:off x="6483041" y="3805779"/>
            <a:ext cx="2268252"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panose="00000800000000000000" pitchFamily="2" charset="-127"/>
                <a:ea typeface="NOVA Bold" panose="00000800000000000000" pitchFamily="2" charset="-127"/>
                <a:cs typeface="Arial Narrow" pitchFamily="34" charset="0"/>
              </a:rPr>
              <a:t>소비 상위 지역 포함 빈도</a:t>
            </a:r>
          </a:p>
        </p:txBody>
      </p:sp>
      <p:sp>
        <p:nvSpPr>
          <p:cNvPr id="346" name="TextBox 345"/>
          <p:cNvSpPr txBox="1"/>
          <p:nvPr/>
        </p:nvSpPr>
        <p:spPr>
          <a:xfrm>
            <a:off x="6583996" y="5924523"/>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이호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오라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애월읍</a:t>
            </a:r>
            <a:r>
              <a:rPr lang="en-US" altLang="ko-KR" sz="1000">
                <a:solidFill>
                  <a:srgbClr val="000000"/>
                </a:solidFill>
                <a:cs typeface="Arial Narrow" pitchFamily="34" charset="0"/>
              </a:rPr>
              <a:t>, </a:t>
            </a:r>
          </a:p>
          <a:p>
            <a:pPr algn="ctr">
              <a:buClr>
                <a:srgbClr val="000000"/>
              </a:buClr>
              <a:buSzTx/>
            </a:pPr>
            <a:r>
              <a:rPr lang="ko-KR" altLang="en-US" sz="1000">
                <a:solidFill>
                  <a:srgbClr val="000000"/>
                </a:solidFill>
                <a:cs typeface="Arial Narrow" pitchFamily="34" charset="0"/>
              </a:rPr>
              <a:t>표선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우도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천지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정방동</a:t>
            </a:r>
          </a:p>
        </p:txBody>
      </p:sp>
      <p:sp>
        <p:nvSpPr>
          <p:cNvPr id="349" name="TextBox 348"/>
          <p:cNvSpPr txBox="1"/>
          <p:nvPr/>
        </p:nvSpPr>
        <p:spPr>
          <a:xfrm>
            <a:off x="2449860" y="5078734"/>
            <a:ext cx="1139155"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서귀포시 도심</a:t>
            </a:r>
          </a:p>
        </p:txBody>
      </p:sp>
      <p:sp>
        <p:nvSpPr>
          <p:cNvPr id="93" name="직사각형 92"/>
          <p:cNvSpPr/>
          <p:nvPr/>
        </p:nvSpPr>
        <p:spPr>
          <a:xfrm>
            <a:off x="6375449" y="4127413"/>
            <a:ext cx="2549240" cy="864000"/>
          </a:xfrm>
          <a:prstGeom prst="rect">
            <a:avLst/>
          </a:prstGeom>
          <a:pattFill prst="wdUpDiag">
            <a:fgClr>
              <a:schemeClr val="bg1">
                <a:lumMod val="95000"/>
              </a:schemeClr>
            </a:fgClr>
            <a:bgClr>
              <a:schemeClr val="bg1"/>
            </a:bgClr>
          </a:pattFill>
          <a:ln w="28575">
            <a:solidFill>
              <a:srgbClr val="CC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a:solidFill>
                <a:srgbClr val="000000"/>
              </a:solidFill>
            </a:endParaRPr>
          </a:p>
        </p:txBody>
      </p:sp>
      <p:graphicFrame>
        <p:nvGraphicFramePr>
          <p:cNvPr id="94" name="차트 93"/>
          <p:cNvGraphicFramePr/>
          <p:nvPr>
            <p:extLst>
              <p:ext uri="{D42A27DB-BD31-4B8C-83A1-F6EECF244321}">
                <p14:modId xmlns:p14="http://schemas.microsoft.com/office/powerpoint/2010/main" val="201512542"/>
              </p:ext>
            </p:extLst>
          </p:nvPr>
        </p:nvGraphicFramePr>
        <p:xfrm>
          <a:off x="7407335" y="3806148"/>
          <a:ext cx="1764748" cy="2575180"/>
        </p:xfrm>
        <a:graphic>
          <a:graphicData uri="http://schemas.openxmlformats.org/drawingml/2006/chart">
            <c:chart xmlns:c="http://schemas.openxmlformats.org/drawingml/2006/chart" xmlns:r="http://schemas.openxmlformats.org/officeDocument/2006/relationships" r:id="rId3"/>
          </a:graphicData>
        </a:graphic>
      </p:graphicFrame>
      <p:sp>
        <p:nvSpPr>
          <p:cNvPr id="95" name="TextBox 94"/>
          <p:cNvSpPr txBox="1"/>
          <p:nvPr/>
        </p:nvSpPr>
        <p:spPr>
          <a:xfrm>
            <a:off x="6583996" y="4169997"/>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연동</a:t>
            </a:r>
            <a:r>
              <a:rPr lang="en-US" altLang="ko-KR" sz="1200" b="1">
                <a:solidFill>
                  <a:srgbClr val="000000"/>
                </a:solidFill>
                <a:cs typeface="Arial Narrow" pitchFamily="34" charset="0"/>
              </a:rPr>
              <a:t>, </a:t>
            </a:r>
            <a:r>
              <a:rPr lang="ko-KR" altLang="en-US" sz="1200" b="1">
                <a:solidFill>
                  <a:srgbClr val="000000"/>
                </a:solidFill>
                <a:cs typeface="Arial Narrow" pitchFamily="34" charset="0"/>
              </a:rPr>
              <a:t>노형동</a:t>
            </a:r>
          </a:p>
        </p:txBody>
      </p:sp>
      <p:sp>
        <p:nvSpPr>
          <p:cNvPr id="96" name="TextBox 95"/>
          <p:cNvSpPr txBox="1"/>
          <p:nvPr/>
        </p:nvSpPr>
        <p:spPr>
          <a:xfrm>
            <a:off x="6583996" y="4602055"/>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이도</a:t>
            </a:r>
            <a:r>
              <a:rPr lang="en-US" altLang="ko-KR" sz="1200" b="1">
                <a:solidFill>
                  <a:srgbClr val="000000"/>
                </a:solidFill>
                <a:cs typeface="Arial Narrow" pitchFamily="34" charset="0"/>
              </a:rPr>
              <a:t>2</a:t>
            </a:r>
            <a:r>
              <a:rPr lang="ko-KR" altLang="en-US" sz="1200" b="1">
                <a:solidFill>
                  <a:srgbClr val="000000"/>
                </a:solidFill>
                <a:cs typeface="Arial Narrow" pitchFamily="34" charset="0"/>
              </a:rPr>
              <a:t>동</a:t>
            </a:r>
            <a:r>
              <a:rPr lang="en-US" altLang="ko-KR" sz="1200" b="1">
                <a:solidFill>
                  <a:srgbClr val="000000"/>
                </a:solidFill>
                <a:cs typeface="Arial Narrow" pitchFamily="34" charset="0"/>
              </a:rPr>
              <a:t>, </a:t>
            </a:r>
            <a:r>
              <a:rPr lang="ko-KR" altLang="en-US" sz="1200" b="1">
                <a:solidFill>
                  <a:srgbClr val="000000"/>
                </a:solidFill>
                <a:cs typeface="Arial Narrow" pitchFamily="34" charset="0"/>
              </a:rPr>
              <a:t>예래동</a:t>
            </a:r>
          </a:p>
        </p:txBody>
      </p:sp>
      <p:sp>
        <p:nvSpPr>
          <p:cNvPr id="97" name="TextBox 96"/>
          <p:cNvSpPr txBox="1"/>
          <p:nvPr/>
        </p:nvSpPr>
        <p:spPr>
          <a:xfrm>
            <a:off x="6583996" y="5034113"/>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삼도</a:t>
            </a:r>
            <a:r>
              <a:rPr lang="en-US" altLang="ko-KR" sz="1000">
                <a:solidFill>
                  <a:srgbClr val="000000"/>
                </a:solidFill>
                <a:cs typeface="Arial Narrow" pitchFamily="34" charset="0"/>
              </a:rPr>
              <a:t>2</a:t>
            </a:r>
            <a:r>
              <a:rPr lang="ko-KR" altLang="en-US" sz="1000">
                <a:solidFill>
                  <a:srgbClr val="000000"/>
                </a:solidFill>
                <a:cs typeface="Arial Narrow" pitchFamily="34" charset="0"/>
              </a:rPr>
              <a:t>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용담</a:t>
            </a:r>
            <a:r>
              <a:rPr lang="en-US" altLang="ko-KR" sz="1000">
                <a:solidFill>
                  <a:srgbClr val="000000"/>
                </a:solidFill>
                <a:cs typeface="Arial Narrow" pitchFamily="34" charset="0"/>
              </a:rPr>
              <a:t>2</a:t>
            </a:r>
            <a:r>
              <a:rPr lang="ko-KR" altLang="en-US" sz="1000">
                <a:solidFill>
                  <a:srgbClr val="000000"/>
                </a:solidFill>
                <a:cs typeface="Arial Narrow" pitchFamily="34" charset="0"/>
              </a:rPr>
              <a:t>동</a:t>
            </a:r>
          </a:p>
        </p:txBody>
      </p:sp>
      <p:sp>
        <p:nvSpPr>
          <p:cNvPr id="98" name="TextBox 97"/>
          <p:cNvSpPr txBox="1"/>
          <p:nvPr/>
        </p:nvSpPr>
        <p:spPr>
          <a:xfrm>
            <a:off x="6583996" y="5466171"/>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중문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안덕면</a:t>
            </a:r>
          </a:p>
        </p:txBody>
      </p:sp>
      <p:sp>
        <p:nvSpPr>
          <p:cNvPr id="92" name="타원 91"/>
          <p:cNvSpPr/>
          <p:nvPr/>
        </p:nvSpPr>
        <p:spPr>
          <a:xfrm>
            <a:off x="3212770" y="5331545"/>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99" name="모서리가 둥근 사각형 설명선 98"/>
          <p:cNvSpPr/>
          <p:nvPr/>
        </p:nvSpPr>
        <p:spPr>
          <a:xfrm>
            <a:off x="3475971" y="5895106"/>
            <a:ext cx="603123" cy="306000"/>
          </a:xfrm>
          <a:prstGeom prst="wedgeRoundRectCallout">
            <a:avLst>
              <a:gd name="adj1" fmla="val -63384"/>
              <a:gd name="adj2" fmla="val -15588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예래동</a:t>
            </a:r>
          </a:p>
        </p:txBody>
      </p:sp>
    </p:spTree>
    <p:extLst>
      <p:ext uri="{BB962C8B-B14F-4D97-AF65-F5344CB8AC3E}">
        <p14:creationId xmlns:p14="http://schemas.microsoft.com/office/powerpoint/2010/main" val="36865117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smtClean="0"/>
              <a:t>] </a:t>
            </a:r>
            <a:r>
              <a:rPr lang="ko-KR" altLang="en-US" smtClean="0"/>
              <a:t>업종별 </a:t>
            </a:r>
            <a:r>
              <a:rPr lang="ko-KR" altLang="en-US"/>
              <a:t>비교</a:t>
            </a:r>
          </a:p>
        </p:txBody>
      </p:sp>
      <p:sp>
        <p:nvSpPr>
          <p:cNvPr id="32" name="직사각형 31"/>
          <p:cNvSpPr/>
          <p:nvPr/>
        </p:nvSpPr>
        <p:spPr>
          <a:xfrm>
            <a:off x="226706" y="1124744"/>
            <a:ext cx="877378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규모는 쇼핑</a:t>
            </a:r>
            <a:r>
              <a:rPr lang="en-US" altLang="ko-KR" sz="1600" spc="10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100">
                <a:ln>
                  <a:solidFill>
                    <a:prstClr val="black">
                      <a:alpha val="20000"/>
                    </a:prstClr>
                  </a:solidFill>
                </a:ln>
                <a:solidFill>
                  <a:srgbClr val="000000"/>
                </a:solidFill>
                <a:latin typeface="NOVA Bold"/>
                <a:ea typeface="NOVA Bold"/>
                <a:cs typeface="Arial" pitchFamily="34" charset="0"/>
              </a:rPr>
              <a:t>소매 업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장은 식음료와 유흥 업종이 타 업종 대비 상대적으로 우위를 차지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국적별 소비 분석 </a:t>
            </a:r>
            <a:r>
              <a:rPr lang="en-US" altLang="ko-KR"/>
              <a:t>– </a:t>
            </a:r>
            <a:r>
              <a:rPr lang="ko-KR" altLang="en-US"/>
              <a:t>중국인 관광객 </a:t>
            </a:r>
          </a:p>
        </p:txBody>
      </p:sp>
      <p:sp>
        <p:nvSpPr>
          <p:cNvPr id="117" name="직사각형 116"/>
          <p:cNvSpPr/>
          <p:nvPr/>
        </p:nvSpPr>
        <p:spPr>
          <a:xfrm>
            <a:off x="387240" y="1628800"/>
            <a:ext cx="8410736" cy="4680520"/>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29" name="TextBox 228"/>
          <p:cNvSpPr txBox="1"/>
          <p:nvPr/>
        </p:nvSpPr>
        <p:spPr>
          <a:xfrm>
            <a:off x="376753" y="6406699"/>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1) </a:t>
            </a:r>
            <a:r>
              <a:rPr lang="ko-KR" altLang="en-US" sz="1000" spc="-30">
                <a:ln>
                  <a:solidFill>
                    <a:srgbClr val="000000">
                      <a:alpha val="0"/>
                    </a:srgbClr>
                  </a:solidFill>
                </a:ln>
                <a:solidFill>
                  <a:srgbClr val="000000"/>
                </a:solidFill>
              </a:rPr>
              <a:t>규모는 </a:t>
            </a:r>
            <a:r>
              <a:rPr lang="en-US" altLang="ko-KR" sz="1000" spc="-30">
                <a:ln>
                  <a:solidFill>
                    <a:srgbClr val="000000">
                      <a:alpha val="0"/>
                    </a:srgbClr>
                  </a:solidFill>
                </a:ln>
                <a:solidFill>
                  <a:srgbClr val="000000"/>
                </a:solidFill>
              </a:rPr>
              <a:t>Y1 (’14.9~’15.8)</a:t>
            </a:r>
            <a:r>
              <a:rPr lang="ko-KR" altLang="en-US" sz="1000" spc="-30">
                <a:ln>
                  <a:solidFill>
                    <a:srgbClr val="000000">
                      <a:alpha val="0"/>
                    </a:srgbClr>
                  </a:solidFill>
                </a:ln>
                <a:solidFill>
                  <a:srgbClr val="000000"/>
                </a:solidFill>
              </a:rPr>
              <a:t>과 </a:t>
            </a:r>
            <a:r>
              <a:rPr lang="en-US" altLang="ko-KR" sz="1000" spc="-30">
                <a:ln>
                  <a:solidFill>
                    <a:srgbClr val="000000">
                      <a:alpha val="0"/>
                    </a:srgbClr>
                  </a:solidFill>
                </a:ln>
                <a:solidFill>
                  <a:srgbClr val="000000"/>
                </a:solidFill>
              </a:rPr>
              <a:t>Y2 (’15.9~’16.8)</a:t>
            </a:r>
            <a:r>
              <a:rPr lang="ko-KR" altLang="en-US" sz="1000" spc="-30">
                <a:ln>
                  <a:solidFill>
                    <a:srgbClr val="000000">
                      <a:alpha val="0"/>
                    </a:srgbClr>
                  </a:solidFill>
                </a:ln>
                <a:solidFill>
                  <a:srgbClr val="000000"/>
                </a:solidFill>
              </a:rPr>
              <a:t>의 합 비교</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2) </a:t>
            </a:r>
            <a:r>
              <a:rPr lang="ko-KR" altLang="en-US" sz="1000" spc="-30">
                <a:ln>
                  <a:solidFill>
                    <a:srgbClr val="000000">
                      <a:alpha val="0"/>
                    </a:srgbClr>
                  </a:solidFill>
                </a:ln>
                <a:solidFill>
                  <a:srgbClr val="000000"/>
                </a:solidFill>
              </a:rPr>
              <a:t>금액</a:t>
            </a:r>
            <a:r>
              <a:rPr lang="ko-KR" altLang="en-US" sz="1000" spc="-30">
                <a:ln>
                  <a:solidFill>
                    <a:srgbClr val="000000">
                      <a:alpha val="0"/>
                    </a:srgbClr>
                  </a:solidFill>
                </a:ln>
                <a:solidFill>
                  <a:srgbClr val="000000"/>
                </a:solidFill>
                <a:sym typeface="Wingdings 2"/>
              </a:rPr>
              <a:t>인원</a:t>
            </a:r>
            <a:r>
              <a:rPr lang="ko-KR" altLang="en-US" sz="1000" spc="-30">
                <a:ln>
                  <a:solidFill>
                    <a:srgbClr val="000000">
                      <a:alpha val="0"/>
                    </a:srgbClr>
                  </a:solidFill>
                </a:ln>
                <a:solidFill>
                  <a:srgbClr val="000000"/>
                </a:solidFill>
              </a:rPr>
              <a:t>건수 성장은 </a:t>
            </a:r>
            <a:r>
              <a:rPr lang="en-US" altLang="ko-KR" sz="1000" spc="-30">
                <a:ln>
                  <a:solidFill>
                    <a:srgbClr val="000000">
                      <a:alpha val="0"/>
                    </a:srgbClr>
                  </a:solidFill>
                </a:ln>
                <a:solidFill>
                  <a:srgbClr val="000000"/>
                </a:solidFill>
              </a:rPr>
              <a:t>Y1 </a:t>
            </a:r>
            <a:r>
              <a:rPr lang="ko-KR" altLang="en-US" sz="1000" spc="-30">
                <a:ln>
                  <a:solidFill>
                    <a:srgbClr val="000000">
                      <a:alpha val="0"/>
                    </a:srgbClr>
                  </a:solidFill>
                </a:ln>
                <a:solidFill>
                  <a:srgbClr val="000000"/>
                </a:solidFill>
              </a:rPr>
              <a:t>대비 </a:t>
            </a:r>
            <a:r>
              <a:rPr lang="en-US" altLang="ko-KR" sz="1000" spc="-30">
                <a:ln>
                  <a:solidFill>
                    <a:srgbClr val="000000">
                      <a:alpha val="0"/>
                    </a:srgbClr>
                  </a:solidFill>
                </a:ln>
                <a:solidFill>
                  <a:srgbClr val="000000"/>
                </a:solidFill>
              </a:rPr>
              <a:t>Y2 , </a:t>
            </a:r>
            <a:r>
              <a:rPr lang="ko-KR" altLang="en-US" sz="1000" spc="-30">
                <a:ln>
                  <a:solidFill>
                    <a:srgbClr val="000000">
                      <a:alpha val="0"/>
                    </a:srgbClr>
                  </a:solidFill>
                </a:ln>
                <a:solidFill>
                  <a:srgbClr val="000000"/>
                </a:solidFill>
              </a:rPr>
              <a:t>인당</a:t>
            </a:r>
            <a:r>
              <a:rPr lang="ko-KR" altLang="en-US" sz="1000" spc="-30">
                <a:ln>
                  <a:solidFill>
                    <a:srgbClr val="000000">
                      <a:alpha val="0"/>
                    </a:srgbClr>
                  </a:solidFill>
                </a:ln>
                <a:solidFill>
                  <a:srgbClr val="000000"/>
                </a:solidFill>
                <a:sym typeface="Wingdings 2"/>
              </a:rPr>
              <a:t></a:t>
            </a:r>
            <a:r>
              <a:rPr lang="ko-KR" altLang="en-US" sz="1000" spc="-30">
                <a:ln>
                  <a:solidFill>
                    <a:srgbClr val="000000">
                      <a:alpha val="0"/>
                    </a:srgbClr>
                  </a:solidFill>
                </a:ln>
                <a:solidFill>
                  <a:srgbClr val="000000"/>
                </a:solidFill>
              </a:rPr>
              <a:t>건당금액 성장은 </a:t>
            </a:r>
            <a:r>
              <a:rPr lang="en-US" altLang="ko-KR" sz="1000" spc="-30">
                <a:ln>
                  <a:solidFill>
                    <a:srgbClr val="000000">
                      <a:alpha val="0"/>
                    </a:srgbClr>
                  </a:solidFill>
                </a:ln>
                <a:solidFill>
                  <a:srgbClr val="000000"/>
                </a:solidFill>
              </a:rPr>
              <a:t>Y1</a:t>
            </a:r>
            <a:r>
              <a:rPr lang="ko-KR" altLang="en-US" sz="1000" spc="-30">
                <a:ln>
                  <a:solidFill>
                    <a:srgbClr val="000000">
                      <a:alpha val="0"/>
                    </a:srgbClr>
                  </a:solidFill>
                </a:ln>
                <a:solidFill>
                  <a:srgbClr val="000000"/>
                </a:solidFill>
              </a:rPr>
              <a:t>과</a:t>
            </a:r>
            <a:r>
              <a:rPr lang="en-US" altLang="ko-KR" sz="1000" spc="-30">
                <a:ln>
                  <a:solidFill>
                    <a:srgbClr val="000000">
                      <a:alpha val="0"/>
                    </a:srgbClr>
                  </a:solidFill>
                </a:ln>
                <a:solidFill>
                  <a:srgbClr val="000000"/>
                </a:solidFill>
              </a:rPr>
              <a:t> Y2 </a:t>
            </a:r>
            <a:r>
              <a:rPr lang="ko-KR" altLang="en-US" sz="1000" spc="-30">
                <a:ln>
                  <a:solidFill>
                    <a:srgbClr val="000000">
                      <a:alpha val="0"/>
                    </a:srgbClr>
                  </a:solidFill>
                </a:ln>
                <a:solidFill>
                  <a:srgbClr val="000000"/>
                </a:solidFill>
              </a:rPr>
              <a:t>각각 마지막 분기 비교 </a:t>
            </a:r>
          </a:p>
        </p:txBody>
      </p:sp>
      <p:sp>
        <p:nvSpPr>
          <p:cNvPr id="230" name="TextBox 229"/>
          <p:cNvSpPr txBox="1"/>
          <p:nvPr/>
        </p:nvSpPr>
        <p:spPr>
          <a:xfrm>
            <a:off x="1292457" y="383578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성장률</a:t>
            </a:r>
          </a:p>
        </p:txBody>
      </p:sp>
      <p:sp>
        <p:nvSpPr>
          <p:cNvPr id="231" name="TextBox 230"/>
          <p:cNvSpPr txBox="1"/>
          <p:nvPr/>
        </p:nvSpPr>
        <p:spPr>
          <a:xfrm>
            <a:off x="1439689" y="180882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규모</a:t>
            </a:r>
          </a:p>
        </p:txBody>
      </p:sp>
      <p:sp>
        <p:nvSpPr>
          <p:cNvPr id="232" name="TextBox 231"/>
          <p:cNvSpPr txBox="1"/>
          <p:nvPr/>
        </p:nvSpPr>
        <p:spPr>
          <a:xfrm>
            <a:off x="2381533"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33" name="TextBox 232"/>
          <p:cNvSpPr txBox="1"/>
          <p:nvPr/>
        </p:nvSpPr>
        <p:spPr>
          <a:xfrm>
            <a:off x="828099"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234" name="TextBox 233"/>
          <p:cNvSpPr txBox="1"/>
          <p:nvPr/>
        </p:nvSpPr>
        <p:spPr>
          <a:xfrm>
            <a:off x="828099"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235" name="TextBox 234"/>
          <p:cNvSpPr txBox="1"/>
          <p:nvPr/>
        </p:nvSpPr>
        <p:spPr>
          <a:xfrm>
            <a:off x="2742868"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36" name="TextBox 235"/>
          <p:cNvSpPr txBox="1"/>
          <p:nvPr/>
        </p:nvSpPr>
        <p:spPr>
          <a:xfrm>
            <a:off x="2381533"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37" name="TextBox 236"/>
          <p:cNvSpPr txBox="1"/>
          <p:nvPr/>
        </p:nvSpPr>
        <p:spPr>
          <a:xfrm>
            <a:off x="463769"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238" name="그룹 237"/>
          <p:cNvGrpSpPr/>
          <p:nvPr/>
        </p:nvGrpSpPr>
        <p:grpSpPr>
          <a:xfrm>
            <a:off x="1051750" y="2081893"/>
            <a:ext cx="1656000" cy="1656000"/>
            <a:chOff x="5769569" y="2828277"/>
            <a:chExt cx="1656000" cy="1656000"/>
          </a:xfrm>
        </p:grpSpPr>
        <p:sp>
          <p:nvSpPr>
            <p:cNvPr id="239" name="타원 238"/>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0" name="타원 239"/>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1" name="타원 240"/>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2" name="타원 241"/>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3" name="타원 242"/>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44" name="직선 연결선 243"/>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5" name="직선 연결선 244"/>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6" name="직선 연결선 245"/>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7" name="직선 연결선 246"/>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8" name="직선 연결선 247"/>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49" name="TextBox 248"/>
          <p:cNvSpPr txBox="1"/>
          <p:nvPr/>
        </p:nvSpPr>
        <p:spPr>
          <a:xfrm>
            <a:off x="2742868"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50" name="TextBox 249"/>
          <p:cNvSpPr txBox="1"/>
          <p:nvPr/>
        </p:nvSpPr>
        <p:spPr>
          <a:xfrm>
            <a:off x="463769"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251" name="그룹 250"/>
          <p:cNvGrpSpPr/>
          <p:nvPr/>
        </p:nvGrpSpPr>
        <p:grpSpPr>
          <a:xfrm>
            <a:off x="3783436" y="2081893"/>
            <a:ext cx="1656000" cy="1656000"/>
            <a:chOff x="5769569" y="2828277"/>
            <a:chExt cx="1656000" cy="1656000"/>
          </a:xfrm>
        </p:grpSpPr>
        <p:sp>
          <p:nvSpPr>
            <p:cNvPr id="252" name="타원 251"/>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3" name="타원 252"/>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4" name="타원 253"/>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5" name="타원 254"/>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6" name="타원 255"/>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57" name="직선 연결선 256"/>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8" name="직선 연결선 257"/>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9" name="직선 연결선 258"/>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0" name="직선 연결선 259"/>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1" name="직선 연결선 260"/>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62" name="TextBox 261"/>
          <p:cNvSpPr txBox="1"/>
          <p:nvPr/>
        </p:nvSpPr>
        <p:spPr>
          <a:xfrm>
            <a:off x="3987199" y="3810526"/>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3" name="TextBox 262"/>
          <p:cNvSpPr txBox="1"/>
          <p:nvPr/>
        </p:nvSpPr>
        <p:spPr>
          <a:xfrm>
            <a:off x="4134431" y="1828799"/>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4</a:t>
            </a:r>
            <a:r>
              <a:rPr lang="ko-KR" altLang="en-US" sz="1100">
                <a:solidFill>
                  <a:srgbClr val="000000"/>
                </a:solidFill>
                <a:latin typeface="NOVA Bold"/>
                <a:ea typeface="NOVA Bold"/>
                <a:cs typeface="Arial Narrow" pitchFamily="34" charset="0"/>
              </a:rPr>
              <a:t>위</a:t>
            </a:r>
          </a:p>
        </p:txBody>
      </p:sp>
      <p:sp>
        <p:nvSpPr>
          <p:cNvPr id="264" name="TextBox 263"/>
          <p:cNvSpPr txBox="1"/>
          <p:nvPr/>
        </p:nvSpPr>
        <p:spPr>
          <a:xfrm>
            <a:off x="4871864"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3</a:t>
            </a:r>
            <a:r>
              <a:rPr lang="ko-KR" altLang="en-US" sz="1100">
                <a:solidFill>
                  <a:srgbClr val="000000"/>
                </a:solidFill>
                <a:latin typeface="NOVA Bold"/>
                <a:ea typeface="NOVA Bold"/>
                <a:cs typeface="Arial Narrow" pitchFamily="34" charset="0"/>
              </a:rPr>
              <a:t>위</a:t>
            </a:r>
          </a:p>
        </p:txBody>
      </p:sp>
      <p:sp>
        <p:nvSpPr>
          <p:cNvPr id="265" name="TextBox 264"/>
          <p:cNvSpPr txBox="1"/>
          <p:nvPr/>
        </p:nvSpPr>
        <p:spPr>
          <a:xfrm>
            <a:off x="3768042"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6" name="TextBox 265"/>
          <p:cNvSpPr txBox="1"/>
          <p:nvPr/>
        </p:nvSpPr>
        <p:spPr>
          <a:xfrm>
            <a:off x="3768042" y="2044823"/>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7" name="TextBox 266"/>
          <p:cNvSpPr txBox="1"/>
          <p:nvPr/>
        </p:nvSpPr>
        <p:spPr>
          <a:xfrm>
            <a:off x="5255136"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8" name="TextBox 267"/>
          <p:cNvSpPr txBox="1"/>
          <p:nvPr/>
        </p:nvSpPr>
        <p:spPr>
          <a:xfrm>
            <a:off x="4871864"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5</a:t>
            </a:r>
            <a:r>
              <a:rPr lang="ko-KR" altLang="en-US" sz="1100">
                <a:solidFill>
                  <a:srgbClr val="000000"/>
                </a:solidFill>
                <a:latin typeface="NOVA Bold"/>
                <a:ea typeface="NOVA Bold"/>
                <a:cs typeface="Arial Narrow" pitchFamily="34" charset="0"/>
              </a:rPr>
              <a:t>위</a:t>
            </a:r>
          </a:p>
        </p:txBody>
      </p:sp>
      <p:sp>
        <p:nvSpPr>
          <p:cNvPr id="269" name="TextBox 268"/>
          <p:cNvSpPr txBox="1"/>
          <p:nvPr/>
        </p:nvSpPr>
        <p:spPr>
          <a:xfrm>
            <a:off x="3400318"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3</a:t>
            </a:r>
            <a:r>
              <a:rPr lang="ko-KR" altLang="en-US" sz="1100">
                <a:solidFill>
                  <a:srgbClr val="000000"/>
                </a:solidFill>
                <a:latin typeface="NOVA Bold"/>
                <a:ea typeface="NOVA Bold"/>
                <a:cs typeface="Arial Narrow" pitchFamily="34" charset="0"/>
              </a:rPr>
              <a:t>위</a:t>
            </a:r>
          </a:p>
        </p:txBody>
      </p:sp>
      <p:sp>
        <p:nvSpPr>
          <p:cNvPr id="270" name="TextBox 269"/>
          <p:cNvSpPr txBox="1"/>
          <p:nvPr/>
        </p:nvSpPr>
        <p:spPr>
          <a:xfrm>
            <a:off x="5255136"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4</a:t>
            </a:r>
            <a:r>
              <a:rPr lang="ko-KR" altLang="en-US" sz="1100">
                <a:solidFill>
                  <a:srgbClr val="000000"/>
                </a:solidFill>
                <a:latin typeface="NOVA Bold"/>
                <a:ea typeface="NOVA Bold"/>
                <a:cs typeface="Arial Narrow" pitchFamily="34" charset="0"/>
              </a:rPr>
              <a:t>위</a:t>
            </a:r>
          </a:p>
        </p:txBody>
      </p:sp>
      <p:sp>
        <p:nvSpPr>
          <p:cNvPr id="271" name="TextBox 270"/>
          <p:cNvSpPr txBox="1"/>
          <p:nvPr/>
        </p:nvSpPr>
        <p:spPr>
          <a:xfrm>
            <a:off x="3400318"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grpSp>
        <p:nvGrpSpPr>
          <p:cNvPr id="272" name="그룹 271"/>
          <p:cNvGrpSpPr/>
          <p:nvPr/>
        </p:nvGrpSpPr>
        <p:grpSpPr>
          <a:xfrm>
            <a:off x="6515122" y="2081893"/>
            <a:ext cx="1656000" cy="1656000"/>
            <a:chOff x="5769569" y="2828277"/>
            <a:chExt cx="1656000" cy="1656000"/>
          </a:xfrm>
        </p:grpSpPr>
        <p:sp>
          <p:nvSpPr>
            <p:cNvPr id="273" name="타원 272"/>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4" name="타원 273"/>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5" name="타원 274"/>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6" name="타원 275"/>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7" name="타원 276"/>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78" name="직선 연결선 277"/>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9" name="직선 연결선 278"/>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0" name="직선 연결선 279"/>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1" name="직선 연결선 280"/>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2" name="직선 연결선 281"/>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83" name="타원 282"/>
          <p:cNvSpPr/>
          <p:nvPr/>
        </p:nvSpPr>
        <p:spPr>
          <a:xfrm>
            <a:off x="1051750"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4" name="타원 283"/>
          <p:cNvSpPr/>
          <p:nvPr/>
        </p:nvSpPr>
        <p:spPr>
          <a:xfrm>
            <a:off x="1213750"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5" name="타원 284"/>
          <p:cNvSpPr/>
          <p:nvPr/>
        </p:nvSpPr>
        <p:spPr>
          <a:xfrm>
            <a:off x="1375750"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6" name="타원 285"/>
          <p:cNvSpPr/>
          <p:nvPr/>
        </p:nvSpPr>
        <p:spPr>
          <a:xfrm>
            <a:off x="1540988"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7" name="타원 286"/>
          <p:cNvSpPr/>
          <p:nvPr/>
        </p:nvSpPr>
        <p:spPr>
          <a:xfrm>
            <a:off x="1717750"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88" name="직선 연결선 287"/>
          <p:cNvCxnSpPr/>
          <p:nvPr/>
        </p:nvCxnSpPr>
        <p:spPr>
          <a:xfrm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9" name="직선 연결선 288"/>
          <p:cNvCxnSpPr/>
          <p:nvPr/>
        </p:nvCxnSpPr>
        <p:spPr>
          <a:xfrm rot="21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0" name="직선 연결선 289"/>
          <p:cNvCxnSpPr/>
          <p:nvPr/>
        </p:nvCxnSpPr>
        <p:spPr>
          <a:xfrm rot="42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1" name="직선 연결선 290"/>
          <p:cNvCxnSpPr/>
          <p:nvPr/>
        </p:nvCxnSpPr>
        <p:spPr>
          <a:xfrm rot="864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2" name="직선 연결선 291"/>
          <p:cNvCxnSpPr/>
          <p:nvPr/>
        </p:nvCxnSpPr>
        <p:spPr>
          <a:xfrm rot="648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93" name="그룹 292"/>
          <p:cNvGrpSpPr/>
          <p:nvPr/>
        </p:nvGrpSpPr>
        <p:grpSpPr>
          <a:xfrm>
            <a:off x="3783436" y="4337580"/>
            <a:ext cx="1656000" cy="1656000"/>
            <a:chOff x="5769569" y="2828277"/>
            <a:chExt cx="1656000" cy="1656000"/>
          </a:xfrm>
        </p:grpSpPr>
        <p:sp>
          <p:nvSpPr>
            <p:cNvPr id="294" name="타원 293"/>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5" name="타원 294"/>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6" name="타원 295"/>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7" name="타원 296"/>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8" name="타원 297"/>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99" name="직선 연결선 298"/>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0" name="직선 연결선 299"/>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1" name="직선 연결선 300"/>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2" name="직선 연결선 301"/>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3" name="직선 연결선 302"/>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304" name="타원 303"/>
          <p:cNvSpPr/>
          <p:nvPr/>
        </p:nvSpPr>
        <p:spPr>
          <a:xfrm>
            <a:off x="6515122"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5" name="타원 304"/>
          <p:cNvSpPr/>
          <p:nvPr/>
        </p:nvSpPr>
        <p:spPr>
          <a:xfrm>
            <a:off x="6677122"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6" name="타원 305"/>
          <p:cNvSpPr/>
          <p:nvPr/>
        </p:nvSpPr>
        <p:spPr>
          <a:xfrm>
            <a:off x="6839122"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7" name="타원 306"/>
          <p:cNvSpPr/>
          <p:nvPr/>
        </p:nvSpPr>
        <p:spPr>
          <a:xfrm>
            <a:off x="7004360"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8" name="타원 307"/>
          <p:cNvSpPr/>
          <p:nvPr/>
        </p:nvSpPr>
        <p:spPr>
          <a:xfrm>
            <a:off x="7181122"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309" name="직선 연결선 308"/>
          <p:cNvCxnSpPr/>
          <p:nvPr/>
        </p:nvCxnSpPr>
        <p:spPr>
          <a:xfrm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0" name="직선 연결선 309"/>
          <p:cNvCxnSpPr/>
          <p:nvPr/>
        </p:nvCxnSpPr>
        <p:spPr>
          <a:xfrm rot="21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1" name="직선 연결선 310"/>
          <p:cNvCxnSpPr/>
          <p:nvPr/>
        </p:nvCxnSpPr>
        <p:spPr>
          <a:xfrm rot="42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2" name="직선 연결선 311"/>
          <p:cNvCxnSpPr/>
          <p:nvPr/>
        </p:nvCxnSpPr>
        <p:spPr>
          <a:xfrm rot="864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3" name="직선 연결선 312"/>
          <p:cNvCxnSpPr/>
          <p:nvPr/>
        </p:nvCxnSpPr>
        <p:spPr>
          <a:xfrm rot="648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4" name="TextBox 313"/>
          <p:cNvSpPr txBox="1"/>
          <p:nvPr/>
        </p:nvSpPr>
        <p:spPr>
          <a:xfrm>
            <a:off x="1691680" y="2693051"/>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5" name="TextBox 314"/>
          <p:cNvSpPr txBox="1"/>
          <p:nvPr/>
        </p:nvSpPr>
        <p:spPr>
          <a:xfrm>
            <a:off x="1691680" y="2529423"/>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6" name="TextBox 315"/>
          <p:cNvSpPr txBox="1"/>
          <p:nvPr/>
        </p:nvSpPr>
        <p:spPr>
          <a:xfrm>
            <a:off x="1691680" y="2038538"/>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1</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7" name="TextBox 316"/>
          <p:cNvSpPr txBox="1"/>
          <p:nvPr/>
        </p:nvSpPr>
        <p:spPr>
          <a:xfrm>
            <a:off x="1691680" y="2202166"/>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2</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8" name="TextBox 317"/>
          <p:cNvSpPr txBox="1"/>
          <p:nvPr/>
        </p:nvSpPr>
        <p:spPr>
          <a:xfrm>
            <a:off x="1691680" y="2365794"/>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9" name="원호 318"/>
          <p:cNvSpPr/>
          <p:nvPr/>
        </p:nvSpPr>
        <p:spPr>
          <a:xfrm>
            <a:off x="1566136" y="2567300"/>
            <a:ext cx="655200" cy="655200"/>
          </a:xfrm>
          <a:prstGeom prst="arc">
            <a:avLst>
              <a:gd name="adj1" fmla="val 16200000"/>
              <a:gd name="adj2" fmla="val 325758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320" name="TextBox 319"/>
          <p:cNvSpPr txBox="1"/>
          <p:nvPr/>
        </p:nvSpPr>
        <p:spPr>
          <a:xfrm>
            <a:off x="2231740" y="2683295"/>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규모</a:t>
            </a:r>
          </a:p>
        </p:txBody>
      </p:sp>
      <p:sp>
        <p:nvSpPr>
          <p:cNvPr id="321" name="TextBox 320"/>
          <p:cNvSpPr txBox="1"/>
          <p:nvPr/>
        </p:nvSpPr>
        <p:spPr>
          <a:xfrm>
            <a:off x="1057150" y="2888940"/>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성장</a:t>
            </a:r>
          </a:p>
        </p:txBody>
      </p:sp>
      <p:sp>
        <p:nvSpPr>
          <p:cNvPr id="322" name="원호 321"/>
          <p:cNvSpPr/>
          <p:nvPr/>
        </p:nvSpPr>
        <p:spPr>
          <a:xfrm>
            <a:off x="1539034" y="2546347"/>
            <a:ext cx="620698" cy="655200"/>
          </a:xfrm>
          <a:prstGeom prst="arc">
            <a:avLst>
              <a:gd name="adj1" fmla="val 4720415"/>
              <a:gd name="adj2" fmla="val 1389646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323" name="TextBox 322"/>
          <p:cNvSpPr txBox="1"/>
          <p:nvPr/>
        </p:nvSpPr>
        <p:spPr>
          <a:xfrm>
            <a:off x="6736100" y="3810526"/>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4" name="TextBox 323"/>
          <p:cNvSpPr txBox="1"/>
          <p:nvPr/>
        </p:nvSpPr>
        <p:spPr>
          <a:xfrm>
            <a:off x="6883332" y="1828799"/>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5" name="TextBox 324"/>
          <p:cNvSpPr txBox="1"/>
          <p:nvPr/>
        </p:nvSpPr>
        <p:spPr>
          <a:xfrm>
            <a:off x="7620765"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6" name="TextBox 325"/>
          <p:cNvSpPr txBox="1"/>
          <p:nvPr/>
        </p:nvSpPr>
        <p:spPr>
          <a:xfrm>
            <a:off x="6516943"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4</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27" name="TextBox 326"/>
          <p:cNvSpPr txBox="1"/>
          <p:nvPr/>
        </p:nvSpPr>
        <p:spPr>
          <a:xfrm>
            <a:off x="6516943"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8" name="TextBox 327"/>
          <p:cNvSpPr txBox="1"/>
          <p:nvPr/>
        </p:nvSpPr>
        <p:spPr>
          <a:xfrm>
            <a:off x="8004037"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9" name="TextBox 328"/>
          <p:cNvSpPr txBox="1"/>
          <p:nvPr/>
        </p:nvSpPr>
        <p:spPr>
          <a:xfrm>
            <a:off x="7620765"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0" name="TextBox 329"/>
          <p:cNvSpPr txBox="1"/>
          <p:nvPr/>
        </p:nvSpPr>
        <p:spPr>
          <a:xfrm>
            <a:off x="6149219"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1" name="TextBox 330"/>
          <p:cNvSpPr txBox="1"/>
          <p:nvPr/>
        </p:nvSpPr>
        <p:spPr>
          <a:xfrm>
            <a:off x="8004037" y="310536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2" name="TextBox 331"/>
          <p:cNvSpPr txBox="1"/>
          <p:nvPr/>
        </p:nvSpPr>
        <p:spPr>
          <a:xfrm>
            <a:off x="6149219"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3" name="TextBox 332"/>
          <p:cNvSpPr txBox="1"/>
          <p:nvPr/>
        </p:nvSpPr>
        <p:spPr>
          <a:xfrm>
            <a:off x="6736100" y="6086507"/>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4" name="TextBox 333"/>
          <p:cNvSpPr txBox="1"/>
          <p:nvPr/>
        </p:nvSpPr>
        <p:spPr>
          <a:xfrm>
            <a:off x="6883332" y="410478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5" name="TextBox 334"/>
          <p:cNvSpPr txBox="1"/>
          <p:nvPr/>
        </p:nvSpPr>
        <p:spPr>
          <a:xfrm>
            <a:off x="7620765"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6" name="TextBox 335"/>
          <p:cNvSpPr txBox="1"/>
          <p:nvPr/>
        </p:nvSpPr>
        <p:spPr>
          <a:xfrm>
            <a:off x="6516943"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7" name="TextBox 336"/>
          <p:cNvSpPr txBox="1"/>
          <p:nvPr/>
        </p:nvSpPr>
        <p:spPr>
          <a:xfrm>
            <a:off x="6516943"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5</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38" name="TextBox 337"/>
          <p:cNvSpPr txBox="1"/>
          <p:nvPr/>
        </p:nvSpPr>
        <p:spPr>
          <a:xfrm>
            <a:off x="8004037"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9" name="TextBox 338"/>
          <p:cNvSpPr txBox="1"/>
          <p:nvPr/>
        </p:nvSpPr>
        <p:spPr>
          <a:xfrm>
            <a:off x="7620765"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0" name="TextBox 339"/>
          <p:cNvSpPr txBox="1"/>
          <p:nvPr/>
        </p:nvSpPr>
        <p:spPr>
          <a:xfrm>
            <a:off x="6149219"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1" name="TextBox 340"/>
          <p:cNvSpPr txBox="1"/>
          <p:nvPr/>
        </p:nvSpPr>
        <p:spPr>
          <a:xfrm>
            <a:off x="8004037"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2" name="TextBox 341"/>
          <p:cNvSpPr txBox="1"/>
          <p:nvPr/>
        </p:nvSpPr>
        <p:spPr>
          <a:xfrm>
            <a:off x="6149219"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5</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3" name="TextBox 342"/>
          <p:cNvSpPr txBox="1"/>
          <p:nvPr/>
        </p:nvSpPr>
        <p:spPr>
          <a:xfrm>
            <a:off x="3987199"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4" name="TextBox 343"/>
          <p:cNvSpPr txBox="1"/>
          <p:nvPr/>
        </p:nvSpPr>
        <p:spPr>
          <a:xfrm>
            <a:off x="4134431" y="4104780"/>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5" name="TextBox 344"/>
          <p:cNvSpPr txBox="1"/>
          <p:nvPr/>
        </p:nvSpPr>
        <p:spPr>
          <a:xfrm>
            <a:off x="487186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6" name="TextBox 345"/>
          <p:cNvSpPr txBox="1"/>
          <p:nvPr/>
        </p:nvSpPr>
        <p:spPr>
          <a:xfrm>
            <a:off x="3768042"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7" name="TextBox 346"/>
          <p:cNvSpPr txBox="1"/>
          <p:nvPr/>
        </p:nvSpPr>
        <p:spPr>
          <a:xfrm>
            <a:off x="3768042"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48" name="TextBox 347"/>
          <p:cNvSpPr txBox="1"/>
          <p:nvPr/>
        </p:nvSpPr>
        <p:spPr>
          <a:xfrm>
            <a:off x="5255136"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9" name="TextBox 348"/>
          <p:cNvSpPr txBox="1"/>
          <p:nvPr/>
        </p:nvSpPr>
        <p:spPr>
          <a:xfrm>
            <a:off x="4871864"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0" name="TextBox 349"/>
          <p:cNvSpPr txBox="1"/>
          <p:nvPr/>
        </p:nvSpPr>
        <p:spPr>
          <a:xfrm>
            <a:off x="3400318"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1" name="TextBox 350"/>
          <p:cNvSpPr txBox="1"/>
          <p:nvPr/>
        </p:nvSpPr>
        <p:spPr>
          <a:xfrm>
            <a:off x="5255136"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2" name="TextBox 351"/>
          <p:cNvSpPr txBox="1"/>
          <p:nvPr/>
        </p:nvSpPr>
        <p:spPr>
          <a:xfrm>
            <a:off x="3400318"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3" name="TextBox 352"/>
          <p:cNvSpPr txBox="1"/>
          <p:nvPr/>
        </p:nvSpPr>
        <p:spPr>
          <a:xfrm>
            <a:off x="1287981"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54" name="TextBox 353"/>
          <p:cNvSpPr txBox="1"/>
          <p:nvPr/>
        </p:nvSpPr>
        <p:spPr>
          <a:xfrm>
            <a:off x="1435213" y="4104780"/>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5" name="TextBox 354"/>
          <p:cNvSpPr txBox="1"/>
          <p:nvPr/>
        </p:nvSpPr>
        <p:spPr>
          <a:xfrm>
            <a:off x="2172646"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6" name="TextBox 355"/>
          <p:cNvSpPr txBox="1"/>
          <p:nvPr/>
        </p:nvSpPr>
        <p:spPr>
          <a:xfrm>
            <a:off x="1068824"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57" name="TextBox 356"/>
          <p:cNvSpPr txBox="1"/>
          <p:nvPr/>
        </p:nvSpPr>
        <p:spPr>
          <a:xfrm>
            <a:off x="106882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8" name="TextBox 357"/>
          <p:cNvSpPr txBox="1"/>
          <p:nvPr/>
        </p:nvSpPr>
        <p:spPr>
          <a:xfrm>
            <a:off x="2555918"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59" name="TextBox 358"/>
          <p:cNvSpPr txBox="1"/>
          <p:nvPr/>
        </p:nvSpPr>
        <p:spPr>
          <a:xfrm>
            <a:off x="2172646"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60" name="TextBox 359"/>
          <p:cNvSpPr txBox="1"/>
          <p:nvPr/>
        </p:nvSpPr>
        <p:spPr>
          <a:xfrm>
            <a:off x="701100"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61" name="TextBox 360"/>
          <p:cNvSpPr txBox="1"/>
          <p:nvPr/>
        </p:nvSpPr>
        <p:spPr>
          <a:xfrm>
            <a:off x="2555918"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62" name="TextBox 361"/>
          <p:cNvSpPr txBox="1"/>
          <p:nvPr/>
        </p:nvSpPr>
        <p:spPr>
          <a:xfrm>
            <a:off x="701100"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 name="자유형 2"/>
          <p:cNvSpPr/>
          <p:nvPr/>
        </p:nvSpPr>
        <p:spPr>
          <a:xfrm>
            <a:off x="3971925" y="2238375"/>
            <a:ext cx="1276350" cy="1533525"/>
          </a:xfrm>
          <a:custGeom>
            <a:avLst/>
            <a:gdLst>
              <a:gd name="connsiteX0" fmla="*/ 628650 w 1276350"/>
              <a:gd name="connsiteY0" fmla="*/ 342900 h 1533525"/>
              <a:gd name="connsiteX1" fmla="*/ 933450 w 1276350"/>
              <a:gd name="connsiteY1" fmla="*/ 266700 h 1533525"/>
              <a:gd name="connsiteX2" fmla="*/ 1276350 w 1276350"/>
              <a:gd name="connsiteY2" fmla="*/ 447675 h 1533525"/>
              <a:gd name="connsiteX3" fmla="*/ 971550 w 1276350"/>
              <a:gd name="connsiteY3" fmla="*/ 790575 h 1533525"/>
              <a:gd name="connsiteX4" fmla="*/ 742950 w 1276350"/>
              <a:gd name="connsiteY4" fmla="*/ 809625 h 1533525"/>
              <a:gd name="connsiteX5" fmla="*/ 638175 w 1276350"/>
              <a:gd name="connsiteY5" fmla="*/ 1533525 h 1533525"/>
              <a:gd name="connsiteX6" fmla="*/ 257175 w 1276350"/>
              <a:gd name="connsiteY6" fmla="*/ 1228725 h 1533525"/>
              <a:gd name="connsiteX7" fmla="*/ 161925 w 1276350"/>
              <a:gd name="connsiteY7" fmla="*/ 828675 h 1533525"/>
              <a:gd name="connsiteX8" fmla="*/ 0 w 1276350"/>
              <a:gd name="connsiteY8" fmla="*/ 457200 h 1533525"/>
              <a:gd name="connsiteX9" fmla="*/ 152400 w 1276350"/>
              <a:gd name="connsiteY9" fmla="*/ 0 h 1533525"/>
              <a:gd name="connsiteX10" fmla="*/ 628650 w 1276350"/>
              <a:gd name="connsiteY10" fmla="*/ 342900 h 153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6350" h="1533525">
                <a:moveTo>
                  <a:pt x="628650" y="342900"/>
                </a:moveTo>
                <a:lnTo>
                  <a:pt x="933450" y="266700"/>
                </a:lnTo>
                <a:lnTo>
                  <a:pt x="1276350" y="447675"/>
                </a:lnTo>
                <a:lnTo>
                  <a:pt x="971550" y="790575"/>
                </a:lnTo>
                <a:lnTo>
                  <a:pt x="742950" y="809625"/>
                </a:lnTo>
                <a:lnTo>
                  <a:pt x="638175" y="1533525"/>
                </a:lnTo>
                <a:lnTo>
                  <a:pt x="257175" y="1228725"/>
                </a:lnTo>
                <a:lnTo>
                  <a:pt x="161925" y="828675"/>
                </a:lnTo>
                <a:lnTo>
                  <a:pt x="0" y="457200"/>
                </a:lnTo>
                <a:lnTo>
                  <a:pt x="152400" y="0"/>
                </a:lnTo>
                <a:lnTo>
                  <a:pt x="628650" y="342900"/>
                </a:lnTo>
                <a:close/>
              </a:path>
            </a:pathLst>
          </a:custGeom>
          <a:solidFill>
            <a:srgbClr val="FF0000">
              <a:alpha val="30000"/>
            </a:srgbClr>
          </a:solidFill>
          <a:ln w="38100">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5" name="자유형 4"/>
          <p:cNvSpPr/>
          <p:nvPr/>
        </p:nvSpPr>
        <p:spPr>
          <a:xfrm>
            <a:off x="7019925" y="2400300"/>
            <a:ext cx="1143000" cy="1200150"/>
          </a:xfrm>
          <a:custGeom>
            <a:avLst/>
            <a:gdLst>
              <a:gd name="connsiteX0" fmla="*/ 323850 w 1143000"/>
              <a:gd name="connsiteY0" fmla="*/ 0 h 1200150"/>
              <a:gd name="connsiteX1" fmla="*/ 504825 w 1143000"/>
              <a:gd name="connsiteY1" fmla="*/ 257175 h 1200150"/>
              <a:gd name="connsiteX2" fmla="*/ 466725 w 1143000"/>
              <a:gd name="connsiteY2" fmla="*/ 485775 h 1200150"/>
              <a:gd name="connsiteX3" fmla="*/ 1143000 w 1143000"/>
              <a:gd name="connsiteY3" fmla="*/ 771525 h 1200150"/>
              <a:gd name="connsiteX4" fmla="*/ 819150 w 1143000"/>
              <a:gd name="connsiteY4" fmla="*/ 1200150 h 1200150"/>
              <a:gd name="connsiteX5" fmla="*/ 333375 w 1143000"/>
              <a:gd name="connsiteY5" fmla="*/ 838200 h 1200150"/>
              <a:gd name="connsiteX6" fmla="*/ 133350 w 1143000"/>
              <a:gd name="connsiteY6" fmla="*/ 790575 h 1200150"/>
              <a:gd name="connsiteX7" fmla="*/ 0 w 1143000"/>
              <a:gd name="connsiteY7" fmla="*/ 619125 h 1200150"/>
              <a:gd name="connsiteX8" fmla="*/ 0 w 1143000"/>
              <a:gd name="connsiteY8" fmla="*/ 419100 h 1200150"/>
              <a:gd name="connsiteX9" fmla="*/ 133350 w 1143000"/>
              <a:gd name="connsiteY9" fmla="*/ 257175 h 1200150"/>
              <a:gd name="connsiteX10" fmla="*/ 323850 w 1143000"/>
              <a:gd name="connsiteY10"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000" h="1200150">
                <a:moveTo>
                  <a:pt x="323850" y="0"/>
                </a:moveTo>
                <a:lnTo>
                  <a:pt x="504825" y="257175"/>
                </a:lnTo>
                <a:lnTo>
                  <a:pt x="466725" y="485775"/>
                </a:lnTo>
                <a:lnTo>
                  <a:pt x="1143000" y="771525"/>
                </a:lnTo>
                <a:lnTo>
                  <a:pt x="819150" y="1200150"/>
                </a:lnTo>
                <a:lnTo>
                  <a:pt x="333375" y="838200"/>
                </a:lnTo>
                <a:lnTo>
                  <a:pt x="133350" y="790575"/>
                </a:lnTo>
                <a:lnTo>
                  <a:pt x="0" y="619125"/>
                </a:lnTo>
                <a:lnTo>
                  <a:pt x="0" y="419100"/>
                </a:lnTo>
                <a:lnTo>
                  <a:pt x="133350" y="257175"/>
                </a:lnTo>
                <a:lnTo>
                  <a:pt x="323850" y="0"/>
                </a:lnTo>
                <a:close/>
              </a:path>
            </a:pathLst>
          </a:custGeom>
          <a:solidFill>
            <a:srgbClr val="3333FF">
              <a:alpha val="30000"/>
            </a:srgbClr>
          </a:solidFill>
          <a:ln w="38100">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71" name="TextBox 370"/>
          <p:cNvSpPr txBox="1"/>
          <p:nvPr/>
        </p:nvSpPr>
        <p:spPr>
          <a:xfrm>
            <a:off x="4062408"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식음료</a:t>
            </a:r>
          </a:p>
        </p:txBody>
      </p:sp>
      <p:sp>
        <p:nvSpPr>
          <p:cNvPr id="372" name="TextBox 371"/>
          <p:cNvSpPr txBox="1"/>
          <p:nvPr/>
        </p:nvSpPr>
        <p:spPr>
          <a:xfrm>
            <a:off x="6785776"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숙박</a:t>
            </a:r>
          </a:p>
        </p:txBody>
      </p:sp>
      <p:sp>
        <p:nvSpPr>
          <p:cNvPr id="6" name="자유형 5"/>
          <p:cNvSpPr/>
          <p:nvPr/>
        </p:nvSpPr>
        <p:spPr>
          <a:xfrm>
            <a:off x="6572250" y="5010150"/>
            <a:ext cx="1247775" cy="828675"/>
          </a:xfrm>
          <a:custGeom>
            <a:avLst/>
            <a:gdLst>
              <a:gd name="connsiteX0" fmla="*/ 771525 w 1247775"/>
              <a:gd name="connsiteY0" fmla="*/ 0 h 828675"/>
              <a:gd name="connsiteX1" fmla="*/ 857250 w 1247775"/>
              <a:gd name="connsiteY1" fmla="*/ 57150 h 828675"/>
              <a:gd name="connsiteX2" fmla="*/ 1247775 w 1247775"/>
              <a:gd name="connsiteY2" fmla="*/ 323850 h 828675"/>
              <a:gd name="connsiteX3" fmla="*/ 1085850 w 1247775"/>
              <a:gd name="connsiteY3" fmla="*/ 552450 h 828675"/>
              <a:gd name="connsiteX4" fmla="*/ 781050 w 1247775"/>
              <a:gd name="connsiteY4" fmla="*/ 828675 h 828675"/>
              <a:gd name="connsiteX5" fmla="*/ 276225 w 1247775"/>
              <a:gd name="connsiteY5" fmla="*/ 828675 h 828675"/>
              <a:gd name="connsiteX6" fmla="*/ 0 w 1247775"/>
              <a:gd name="connsiteY6" fmla="*/ 409575 h 828675"/>
              <a:gd name="connsiteX7" fmla="*/ 609600 w 1247775"/>
              <a:gd name="connsiteY7" fmla="*/ 95250 h 828675"/>
              <a:gd name="connsiteX8" fmla="*/ 685800 w 1247775"/>
              <a:gd name="connsiteY8" fmla="*/ 9525 h 828675"/>
              <a:gd name="connsiteX9" fmla="*/ 771525 w 1247775"/>
              <a:gd name="connsiteY9" fmla="*/ 0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7775" h="828675">
                <a:moveTo>
                  <a:pt x="771525" y="0"/>
                </a:moveTo>
                <a:lnTo>
                  <a:pt x="857250" y="57150"/>
                </a:lnTo>
                <a:lnTo>
                  <a:pt x="1247775" y="323850"/>
                </a:lnTo>
                <a:lnTo>
                  <a:pt x="1085850" y="552450"/>
                </a:lnTo>
                <a:lnTo>
                  <a:pt x="781050" y="828675"/>
                </a:lnTo>
                <a:lnTo>
                  <a:pt x="276225" y="828675"/>
                </a:lnTo>
                <a:lnTo>
                  <a:pt x="0" y="409575"/>
                </a:lnTo>
                <a:lnTo>
                  <a:pt x="609600" y="95250"/>
                </a:lnTo>
                <a:lnTo>
                  <a:pt x="685800" y="9525"/>
                </a:lnTo>
                <a:lnTo>
                  <a:pt x="771525" y="0"/>
                </a:lnTo>
                <a:close/>
              </a:path>
            </a:pathLst>
          </a:custGeom>
          <a:solidFill>
            <a:srgbClr val="92D050">
              <a:alpha val="30000"/>
            </a:srgbClr>
          </a:solidFill>
          <a:ln w="38100">
            <a:solidFill>
              <a:srgbClr val="92D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7" name="자유형 6"/>
          <p:cNvSpPr/>
          <p:nvPr/>
        </p:nvSpPr>
        <p:spPr>
          <a:xfrm>
            <a:off x="3819525" y="4362450"/>
            <a:ext cx="1581150" cy="1362075"/>
          </a:xfrm>
          <a:custGeom>
            <a:avLst/>
            <a:gdLst>
              <a:gd name="connsiteX0" fmla="*/ 781050 w 1581150"/>
              <a:gd name="connsiteY0" fmla="*/ 0 h 1362075"/>
              <a:gd name="connsiteX1" fmla="*/ 1285875 w 1581150"/>
              <a:gd name="connsiteY1" fmla="*/ 142875 h 1362075"/>
              <a:gd name="connsiteX2" fmla="*/ 1581150 w 1581150"/>
              <a:gd name="connsiteY2" fmla="*/ 542925 h 1362075"/>
              <a:gd name="connsiteX3" fmla="*/ 1438275 w 1581150"/>
              <a:gd name="connsiteY3" fmla="*/ 1019175 h 1362075"/>
              <a:gd name="connsiteX4" fmla="*/ 1209675 w 1581150"/>
              <a:gd name="connsiteY4" fmla="*/ 1362075 h 1362075"/>
              <a:gd name="connsiteX5" fmla="*/ 800100 w 1581150"/>
              <a:gd name="connsiteY5" fmla="*/ 1304925 h 1362075"/>
              <a:gd name="connsiteX6" fmla="*/ 514350 w 1581150"/>
              <a:gd name="connsiteY6" fmla="*/ 1209675 h 1362075"/>
              <a:gd name="connsiteX7" fmla="*/ 171450 w 1581150"/>
              <a:gd name="connsiteY7" fmla="*/ 1028700 h 1362075"/>
              <a:gd name="connsiteX8" fmla="*/ 0 w 1581150"/>
              <a:gd name="connsiteY8" fmla="*/ 533400 h 1362075"/>
              <a:gd name="connsiteX9" fmla="*/ 495300 w 1581150"/>
              <a:gd name="connsiteY9" fmla="*/ 390525 h 1362075"/>
              <a:gd name="connsiteX10" fmla="*/ 781050 w 1581150"/>
              <a:gd name="connsiteY10" fmla="*/ 0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150" h="1362075">
                <a:moveTo>
                  <a:pt x="781050" y="0"/>
                </a:moveTo>
                <a:lnTo>
                  <a:pt x="1285875" y="142875"/>
                </a:lnTo>
                <a:lnTo>
                  <a:pt x="1581150" y="542925"/>
                </a:lnTo>
                <a:lnTo>
                  <a:pt x="1438275" y="1019175"/>
                </a:lnTo>
                <a:lnTo>
                  <a:pt x="1209675" y="1362075"/>
                </a:lnTo>
                <a:lnTo>
                  <a:pt x="800100" y="1304925"/>
                </a:lnTo>
                <a:lnTo>
                  <a:pt x="514350" y="1209675"/>
                </a:lnTo>
                <a:lnTo>
                  <a:pt x="171450" y="1028700"/>
                </a:lnTo>
                <a:lnTo>
                  <a:pt x="0" y="533400"/>
                </a:lnTo>
                <a:lnTo>
                  <a:pt x="495300" y="390525"/>
                </a:lnTo>
                <a:lnTo>
                  <a:pt x="781050" y="0"/>
                </a:lnTo>
                <a:close/>
              </a:path>
            </a:pathLst>
          </a:custGeom>
          <a:solidFill>
            <a:srgbClr val="FFFF00">
              <a:alpha val="30000"/>
            </a:srgbClr>
          </a:solidFill>
          <a:ln w="38100">
            <a:solidFill>
              <a:srgbClr val="FFF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8" name="자유형 7"/>
          <p:cNvSpPr/>
          <p:nvPr/>
        </p:nvSpPr>
        <p:spPr>
          <a:xfrm>
            <a:off x="1409700" y="4486275"/>
            <a:ext cx="942975" cy="962025"/>
          </a:xfrm>
          <a:custGeom>
            <a:avLst/>
            <a:gdLst>
              <a:gd name="connsiteX0" fmla="*/ 466725 w 942975"/>
              <a:gd name="connsiteY0" fmla="*/ 0 h 962025"/>
              <a:gd name="connsiteX1" fmla="*/ 866775 w 942975"/>
              <a:gd name="connsiteY1" fmla="*/ 142875 h 962025"/>
              <a:gd name="connsiteX2" fmla="*/ 942975 w 942975"/>
              <a:gd name="connsiteY2" fmla="*/ 533400 h 962025"/>
              <a:gd name="connsiteX3" fmla="*/ 619125 w 942975"/>
              <a:gd name="connsiteY3" fmla="*/ 742950 h 962025"/>
              <a:gd name="connsiteX4" fmla="*/ 666750 w 942975"/>
              <a:gd name="connsiteY4" fmla="*/ 962025 h 962025"/>
              <a:gd name="connsiteX5" fmla="*/ 476250 w 942975"/>
              <a:gd name="connsiteY5" fmla="*/ 847725 h 962025"/>
              <a:gd name="connsiteX6" fmla="*/ 371475 w 942975"/>
              <a:gd name="connsiteY6" fmla="*/ 800100 h 962025"/>
              <a:gd name="connsiteX7" fmla="*/ 323850 w 942975"/>
              <a:gd name="connsiteY7" fmla="*/ 714375 h 962025"/>
              <a:gd name="connsiteX8" fmla="*/ 0 w 942975"/>
              <a:gd name="connsiteY8" fmla="*/ 523875 h 962025"/>
              <a:gd name="connsiteX9" fmla="*/ 66675 w 942975"/>
              <a:gd name="connsiteY9" fmla="*/ 142875 h 962025"/>
              <a:gd name="connsiteX10" fmla="*/ 466725 w 942975"/>
              <a:gd name="connsiteY10" fmla="*/ 0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62025">
                <a:moveTo>
                  <a:pt x="466725" y="0"/>
                </a:moveTo>
                <a:lnTo>
                  <a:pt x="866775" y="142875"/>
                </a:lnTo>
                <a:lnTo>
                  <a:pt x="942975" y="533400"/>
                </a:lnTo>
                <a:lnTo>
                  <a:pt x="619125" y="742950"/>
                </a:lnTo>
                <a:lnTo>
                  <a:pt x="666750" y="962025"/>
                </a:lnTo>
                <a:lnTo>
                  <a:pt x="476250" y="847725"/>
                </a:lnTo>
                <a:lnTo>
                  <a:pt x="371475" y="800100"/>
                </a:lnTo>
                <a:lnTo>
                  <a:pt x="323850" y="714375"/>
                </a:lnTo>
                <a:lnTo>
                  <a:pt x="0" y="523875"/>
                </a:lnTo>
                <a:lnTo>
                  <a:pt x="66675" y="142875"/>
                </a:lnTo>
                <a:lnTo>
                  <a:pt x="466725" y="0"/>
                </a:lnTo>
                <a:close/>
              </a:path>
            </a:pathLst>
          </a:custGeom>
          <a:solidFill>
            <a:srgbClr val="FFC000">
              <a:alpha val="3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68" name="TextBox 367"/>
          <p:cNvSpPr txBox="1"/>
          <p:nvPr/>
        </p:nvSpPr>
        <p:spPr>
          <a:xfrm>
            <a:off x="6785776"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유흥</a:t>
            </a:r>
          </a:p>
        </p:txBody>
      </p:sp>
      <p:sp>
        <p:nvSpPr>
          <p:cNvPr id="369" name="TextBox 368"/>
          <p:cNvSpPr txBox="1"/>
          <p:nvPr/>
        </p:nvSpPr>
        <p:spPr>
          <a:xfrm>
            <a:off x="4062408"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쇼핑</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sym typeface="Wingdings 2"/>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소매</a:t>
            </a:r>
          </a:p>
        </p:txBody>
      </p:sp>
      <p:sp>
        <p:nvSpPr>
          <p:cNvPr id="370" name="TextBox 369"/>
          <p:cNvSpPr txBox="1"/>
          <p:nvPr/>
        </p:nvSpPr>
        <p:spPr>
          <a:xfrm>
            <a:off x="1322404"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문화</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레져</a:t>
            </a:r>
          </a:p>
        </p:txBody>
      </p:sp>
      <p:sp>
        <p:nvSpPr>
          <p:cNvPr id="151" name="모서리가 둥근 직사각형 15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1645698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779912" y="1711082"/>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800524001"/>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47.4%)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1.2%) – </a:t>
            </a:r>
            <a:r>
              <a:rPr lang="ko-KR" altLang="en-US" sz="1600" spc="100">
                <a:ln>
                  <a:solidFill>
                    <a:prstClr val="black">
                      <a:alpha val="20000"/>
                    </a:prstClr>
                  </a:solidFill>
                </a:ln>
                <a:solidFill>
                  <a:srgbClr val="000000"/>
                </a:solidFill>
                <a:latin typeface="NOVA Bold"/>
                <a:ea typeface="NOVA Bold"/>
                <a:cs typeface="Arial" pitchFamily="34" charset="0"/>
              </a:rPr>
              <a:t>애월읍</a:t>
            </a:r>
            <a:r>
              <a:rPr lang="en-US" altLang="ko-KR" sz="1600" spc="100">
                <a:ln>
                  <a:solidFill>
                    <a:prstClr val="black">
                      <a:alpha val="20000"/>
                    </a:prstClr>
                  </a:solidFill>
                </a:ln>
                <a:solidFill>
                  <a:srgbClr val="000000"/>
                </a:solidFill>
                <a:latin typeface="NOVA Bold"/>
                <a:ea typeface="NOVA Bold"/>
                <a:cs typeface="Arial" pitchFamily="34" charset="0"/>
              </a:rPr>
              <a:t> (20.6%)</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54.8%)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18.3%) – </a:t>
            </a:r>
            <a:r>
              <a:rPr lang="ko-KR" altLang="en-US" sz="1600" spc="100">
                <a:ln>
                  <a:solidFill>
                    <a:prstClr val="black">
                      <a:alpha val="20000"/>
                    </a:prstClr>
                  </a:solidFill>
                </a:ln>
                <a:solidFill>
                  <a:srgbClr val="000000"/>
                </a:solidFill>
                <a:latin typeface="NOVA Bold"/>
                <a:ea typeface="NOVA Bold"/>
                <a:cs typeface="Arial" pitchFamily="34" charset="0"/>
              </a:rPr>
              <a:t>애월읍 </a:t>
            </a:r>
            <a:r>
              <a:rPr lang="en-US" altLang="ko-KR" sz="1600" spc="100">
                <a:ln>
                  <a:solidFill>
                    <a:prstClr val="black">
                      <a:alpha val="20000"/>
                    </a:prstClr>
                  </a:solidFill>
                </a:ln>
                <a:solidFill>
                  <a:srgbClr val="000000"/>
                </a:solidFill>
                <a:latin typeface="NOVA Bold"/>
                <a:ea typeface="NOVA Bold"/>
                <a:cs typeface="Arial" pitchFamily="34" charset="0"/>
              </a:rPr>
              <a:t>(11.5%)</a:t>
            </a:r>
          </a:p>
        </p:txBody>
      </p:sp>
      <p:sp>
        <p:nvSpPr>
          <p:cNvPr id="4" name="제목 3"/>
          <p:cNvSpPr>
            <a:spLocks noGrp="1"/>
          </p:cNvSpPr>
          <p:nvPr>
            <p:ph type="title"/>
          </p:nvPr>
        </p:nvSpPr>
        <p:spPr/>
        <p:txBody>
          <a:bodyPr/>
          <a:lstStyle/>
          <a:p>
            <a:r>
              <a:rPr lang="ko-KR" altLang="en-US" smtClean="0"/>
              <a:t>      관광 국적별 소비 분석 </a:t>
            </a:r>
            <a:r>
              <a:rPr lang="en-US" altLang="ko-KR"/>
              <a:t>– </a:t>
            </a:r>
            <a:r>
              <a:rPr lang="ko-KR" altLang="en-US"/>
              <a:t>중국인 관광객 </a:t>
            </a:r>
          </a:p>
        </p:txBody>
      </p:sp>
      <p:sp>
        <p:nvSpPr>
          <p:cNvPr id="6" name="텍스트 개체 틀 5"/>
          <p:cNvSpPr>
            <a:spLocks noGrp="1"/>
          </p:cNvSpPr>
          <p:nvPr>
            <p:ph type="body" sz="quarter" idx="12"/>
          </p:nvPr>
        </p:nvSpPr>
        <p:spPr>
          <a:xfrm>
            <a:off x="250828" y="518352"/>
            <a:ext cx="8137599" cy="284693"/>
          </a:xfrm>
        </p:spPr>
        <p:txBody>
          <a:bodyPr/>
          <a:lstStyle/>
          <a:p>
            <a:r>
              <a:rPr lang="en-US" altLang="ko-KR" smtClean="0"/>
              <a:t>[</a:t>
            </a:r>
            <a:r>
              <a:rPr lang="ko-KR" altLang="en-US" smtClean="0"/>
              <a:t>개</a:t>
            </a:r>
            <a:r>
              <a:rPr lang="ko-KR" altLang="en-US"/>
              <a:t>별</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141" name="TextBox 140"/>
          <p:cNvSpPr txBox="1"/>
          <p:nvPr/>
        </p:nvSpPr>
        <p:spPr>
          <a:xfrm>
            <a:off x="4836947" y="5337212"/>
            <a:ext cx="3809093" cy="6647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제주시 도심</a:t>
            </a:r>
            <a:r>
              <a:rPr lang="en-US" altLang="ko-KR" sz="1200">
                <a:solidFill>
                  <a:srgbClr val="000000"/>
                </a:solidFill>
                <a:cs typeface="Arial Narrow" pitchFamily="34" charset="0"/>
              </a:rPr>
              <a:t>(+7.4%p)</a:t>
            </a:r>
            <a:r>
              <a:rPr lang="ko-KR" altLang="en-US" sz="1200">
                <a:solidFill>
                  <a:srgbClr val="000000"/>
                </a:solidFill>
                <a:cs typeface="Arial Narrow" pitchFamily="34" charset="0"/>
              </a:rPr>
              <a:t>과 안덕면</a:t>
            </a:r>
            <a:r>
              <a:rPr lang="en-US" altLang="ko-KR" sz="1200">
                <a:solidFill>
                  <a:srgbClr val="000000"/>
                </a:solidFill>
                <a:cs typeface="Arial Narrow" pitchFamily="34" charset="0"/>
              </a:rPr>
              <a:t>(6.0%p)</a:t>
            </a:r>
            <a:r>
              <a:rPr lang="ko-KR" altLang="en-US" sz="1200">
                <a:solidFill>
                  <a:srgbClr val="000000"/>
                </a:solidFill>
                <a:cs typeface="Arial Narrow" pitchFamily="34" charset="0"/>
              </a:rPr>
              <a:t>의 비중이    대폭 증가한 반면</a:t>
            </a:r>
            <a:r>
              <a:rPr lang="en-US" altLang="ko-KR" sz="1200">
                <a:solidFill>
                  <a:srgbClr val="000000"/>
                </a:solidFill>
                <a:cs typeface="Arial Narrow" pitchFamily="34" charset="0"/>
              </a:rPr>
              <a:t>, </a:t>
            </a:r>
            <a:r>
              <a:rPr lang="ko-KR" altLang="en-US" sz="1200">
                <a:solidFill>
                  <a:srgbClr val="000000"/>
                </a:solidFill>
                <a:cs typeface="Arial Narrow" pitchFamily="34" charset="0"/>
              </a:rPr>
              <a:t>서귀포시 도심</a:t>
            </a:r>
            <a:r>
              <a:rPr lang="en-US" altLang="ko-KR" sz="1200">
                <a:solidFill>
                  <a:srgbClr val="000000"/>
                </a:solidFill>
                <a:cs typeface="Arial Narrow" pitchFamily="34" charset="0"/>
              </a:rPr>
              <a:t>(-2.9%p)</a:t>
            </a:r>
            <a:r>
              <a:rPr lang="ko-KR" altLang="en-US" sz="1200">
                <a:solidFill>
                  <a:srgbClr val="000000"/>
                </a:solidFill>
                <a:cs typeface="Arial Narrow" pitchFamily="34" charset="0"/>
              </a:rPr>
              <a:t>과 표선면  </a:t>
            </a:r>
            <a:r>
              <a:rPr lang="en-US" altLang="ko-KR" sz="1200">
                <a:solidFill>
                  <a:srgbClr val="000000"/>
                </a:solidFill>
                <a:cs typeface="Arial Narrow" pitchFamily="34" charset="0"/>
              </a:rPr>
              <a:t>(-1.6%p)</a:t>
            </a:r>
            <a:r>
              <a:rPr lang="ko-KR" altLang="en-US" sz="1200">
                <a:solidFill>
                  <a:srgbClr val="000000"/>
                </a:solidFill>
                <a:cs typeface="Arial Narrow" pitchFamily="34" charset="0"/>
              </a:rPr>
              <a:t>의 비중이 상대적으로 크게 감소</a:t>
            </a:r>
            <a:endParaRPr lang="en-US" altLang="ko-KR" sz="1200">
              <a:solidFill>
                <a:srgbClr val="000000"/>
              </a:solidFill>
              <a:cs typeface="Arial Narrow" pitchFamily="34" charset="0"/>
            </a:endParaRPr>
          </a:p>
        </p:txBody>
      </p:sp>
      <p:sp>
        <p:nvSpPr>
          <p:cNvPr id="87" name="모서리가 둥근 직사각형 86"/>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117" name="TextBox 116"/>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118" name="TextBox 117"/>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graphicFrame>
        <p:nvGraphicFramePr>
          <p:cNvPr id="119" name="표 118"/>
          <p:cNvGraphicFramePr>
            <a:graphicFrameLocks noGrp="1"/>
          </p:cNvGraphicFramePr>
          <p:nvPr>
            <p:extLst>
              <p:ext uri="{D42A27DB-BD31-4B8C-83A1-F6EECF244321}">
                <p14:modId xmlns:p14="http://schemas.microsoft.com/office/powerpoint/2010/main" val="2994738455"/>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
        <p:nvSpPr>
          <p:cNvPr id="113"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114" name="자유형 113"/>
          <p:cNvSpPr/>
          <p:nvPr/>
        </p:nvSpPr>
        <p:spPr>
          <a:xfrm>
            <a:off x="534747"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15" name="자유형 114"/>
          <p:cNvSpPr/>
          <p:nvPr/>
        </p:nvSpPr>
        <p:spPr>
          <a:xfrm>
            <a:off x="3820755"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16" name="자유형 115"/>
          <p:cNvSpPr/>
          <p:nvPr/>
        </p:nvSpPr>
        <p:spPr>
          <a:xfrm>
            <a:off x="2356430"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0" name="자유형 119"/>
          <p:cNvSpPr/>
          <p:nvPr/>
        </p:nvSpPr>
        <p:spPr>
          <a:xfrm>
            <a:off x="2252817"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1" name="자유형 120"/>
          <p:cNvSpPr/>
          <p:nvPr/>
        </p:nvSpPr>
        <p:spPr>
          <a:xfrm>
            <a:off x="865674"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2" name="자유형 121"/>
          <p:cNvSpPr/>
          <p:nvPr/>
        </p:nvSpPr>
        <p:spPr>
          <a:xfrm>
            <a:off x="488227"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3" name="자유형 122"/>
          <p:cNvSpPr/>
          <p:nvPr/>
        </p:nvSpPr>
        <p:spPr>
          <a:xfrm>
            <a:off x="543205"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4" name="자유형 123"/>
          <p:cNvSpPr/>
          <p:nvPr/>
        </p:nvSpPr>
        <p:spPr>
          <a:xfrm>
            <a:off x="682765"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5" name="자유형 124"/>
          <p:cNvSpPr/>
          <p:nvPr/>
        </p:nvSpPr>
        <p:spPr>
          <a:xfrm>
            <a:off x="590571"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6" name="자유형 125"/>
          <p:cNvSpPr/>
          <p:nvPr/>
        </p:nvSpPr>
        <p:spPr>
          <a:xfrm>
            <a:off x="590571"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7" name="자유형 126"/>
          <p:cNvSpPr/>
          <p:nvPr/>
        </p:nvSpPr>
        <p:spPr>
          <a:xfrm>
            <a:off x="1199561"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8" name="자유형 127"/>
          <p:cNvSpPr/>
          <p:nvPr/>
        </p:nvSpPr>
        <p:spPr>
          <a:xfrm>
            <a:off x="1023631"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9" name="자유형 128"/>
          <p:cNvSpPr/>
          <p:nvPr/>
        </p:nvSpPr>
        <p:spPr>
          <a:xfrm>
            <a:off x="1408760"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0" name="자유형 129"/>
          <p:cNvSpPr/>
          <p:nvPr/>
        </p:nvSpPr>
        <p:spPr>
          <a:xfrm>
            <a:off x="1826031" y="3403046"/>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1" name="자유형 130"/>
          <p:cNvSpPr/>
          <p:nvPr/>
        </p:nvSpPr>
        <p:spPr>
          <a:xfrm>
            <a:off x="1515897" y="4188953"/>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2" name="자유형 131"/>
          <p:cNvSpPr/>
          <p:nvPr/>
        </p:nvSpPr>
        <p:spPr>
          <a:xfrm>
            <a:off x="2202588"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3" name="자유형 132"/>
          <p:cNvSpPr/>
          <p:nvPr/>
        </p:nvSpPr>
        <p:spPr>
          <a:xfrm>
            <a:off x="2773349"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4" name="자유형 133"/>
          <p:cNvSpPr/>
          <p:nvPr/>
        </p:nvSpPr>
        <p:spPr>
          <a:xfrm>
            <a:off x="3076434"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2488589"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2201012"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7" name="TextBox 136"/>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38" name="TextBox 137"/>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39" name="TextBox 138"/>
          <p:cNvSpPr txBox="1"/>
          <p:nvPr/>
        </p:nvSpPr>
        <p:spPr>
          <a:xfrm>
            <a:off x="740563"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40" name="TextBox 139"/>
          <p:cNvSpPr txBox="1"/>
          <p:nvPr/>
        </p:nvSpPr>
        <p:spPr>
          <a:xfrm>
            <a:off x="1212686" y="446338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142" name="TextBox 141"/>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143" name="TextBox 142"/>
          <p:cNvSpPr txBox="1"/>
          <p:nvPr/>
        </p:nvSpPr>
        <p:spPr>
          <a:xfrm>
            <a:off x="1500429" y="391131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144" name="TextBox 143"/>
          <p:cNvSpPr txBox="1"/>
          <p:nvPr/>
        </p:nvSpPr>
        <p:spPr>
          <a:xfrm>
            <a:off x="1937750" y="3658096"/>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45" name="TextBox 144"/>
          <p:cNvSpPr txBox="1"/>
          <p:nvPr/>
        </p:nvSpPr>
        <p:spPr>
          <a:xfrm>
            <a:off x="2375214"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46" name="TextBox 145"/>
          <p:cNvSpPr txBox="1"/>
          <p:nvPr/>
        </p:nvSpPr>
        <p:spPr>
          <a:xfrm>
            <a:off x="2982672"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147" name="TextBox 146"/>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48" name="TextBox 147"/>
          <p:cNvSpPr txBox="1"/>
          <p:nvPr/>
        </p:nvSpPr>
        <p:spPr>
          <a:xfrm>
            <a:off x="3206472"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149" name="TextBox 148"/>
          <p:cNvSpPr txBox="1"/>
          <p:nvPr/>
        </p:nvSpPr>
        <p:spPr>
          <a:xfrm>
            <a:off x="2667390" y="4111701"/>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표선면</a:t>
            </a:r>
          </a:p>
        </p:txBody>
      </p:sp>
      <p:sp>
        <p:nvSpPr>
          <p:cNvPr id="150" name="TextBox 149"/>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51" name="TextBox 150"/>
          <p:cNvSpPr txBox="1"/>
          <p:nvPr/>
        </p:nvSpPr>
        <p:spPr>
          <a:xfrm>
            <a:off x="1730655" y="4362444"/>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52" name="자유형 151"/>
          <p:cNvSpPr/>
          <p:nvPr/>
        </p:nvSpPr>
        <p:spPr>
          <a:xfrm>
            <a:off x="4901736"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3" name="자유형 152"/>
          <p:cNvSpPr/>
          <p:nvPr/>
        </p:nvSpPr>
        <p:spPr>
          <a:xfrm>
            <a:off x="8187744"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4" name="자유형 153"/>
          <p:cNvSpPr/>
          <p:nvPr/>
        </p:nvSpPr>
        <p:spPr>
          <a:xfrm>
            <a:off x="6723419"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5" name="자유형 154"/>
          <p:cNvSpPr/>
          <p:nvPr/>
        </p:nvSpPr>
        <p:spPr>
          <a:xfrm>
            <a:off x="6619806"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6" name="자유형 155"/>
          <p:cNvSpPr/>
          <p:nvPr/>
        </p:nvSpPr>
        <p:spPr>
          <a:xfrm>
            <a:off x="5232663"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7" name="자유형 156"/>
          <p:cNvSpPr/>
          <p:nvPr/>
        </p:nvSpPr>
        <p:spPr>
          <a:xfrm>
            <a:off x="4855216"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8" name="자유형 157"/>
          <p:cNvSpPr/>
          <p:nvPr/>
        </p:nvSpPr>
        <p:spPr>
          <a:xfrm>
            <a:off x="4910194"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9" name="자유형 158"/>
          <p:cNvSpPr/>
          <p:nvPr/>
        </p:nvSpPr>
        <p:spPr>
          <a:xfrm>
            <a:off x="5049754"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0" name="자유형 159"/>
          <p:cNvSpPr/>
          <p:nvPr/>
        </p:nvSpPr>
        <p:spPr>
          <a:xfrm>
            <a:off x="4957560"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1" name="자유형 160"/>
          <p:cNvSpPr/>
          <p:nvPr/>
        </p:nvSpPr>
        <p:spPr>
          <a:xfrm>
            <a:off x="4957560"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3" name="자유형 162"/>
          <p:cNvSpPr/>
          <p:nvPr/>
        </p:nvSpPr>
        <p:spPr>
          <a:xfrm>
            <a:off x="5390620"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4" name="자유형 163"/>
          <p:cNvSpPr/>
          <p:nvPr/>
        </p:nvSpPr>
        <p:spPr>
          <a:xfrm>
            <a:off x="5775749"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5" name="자유형 164"/>
          <p:cNvSpPr/>
          <p:nvPr/>
        </p:nvSpPr>
        <p:spPr>
          <a:xfrm>
            <a:off x="6569577"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6" name="자유형 165"/>
          <p:cNvSpPr/>
          <p:nvPr/>
        </p:nvSpPr>
        <p:spPr>
          <a:xfrm>
            <a:off x="7140338"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7" name="자유형 166"/>
          <p:cNvSpPr/>
          <p:nvPr/>
        </p:nvSpPr>
        <p:spPr>
          <a:xfrm>
            <a:off x="7443423"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8" name="자유형 167"/>
          <p:cNvSpPr/>
          <p:nvPr/>
        </p:nvSpPr>
        <p:spPr>
          <a:xfrm>
            <a:off x="6568001"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9" name="TextBox 168"/>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70" name="TextBox 169"/>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71" name="TextBox 170"/>
          <p:cNvSpPr txBox="1"/>
          <p:nvPr/>
        </p:nvSpPr>
        <p:spPr>
          <a:xfrm>
            <a:off x="5107552"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73" name="TextBox 172"/>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174" name="TextBox 173"/>
          <p:cNvSpPr txBox="1"/>
          <p:nvPr/>
        </p:nvSpPr>
        <p:spPr>
          <a:xfrm>
            <a:off x="5867418" y="391131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175" name="TextBox 174"/>
          <p:cNvSpPr txBox="1"/>
          <p:nvPr/>
        </p:nvSpPr>
        <p:spPr>
          <a:xfrm>
            <a:off x="6742203"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76" name="TextBox 175"/>
          <p:cNvSpPr txBox="1"/>
          <p:nvPr/>
        </p:nvSpPr>
        <p:spPr>
          <a:xfrm>
            <a:off x="7349661"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177" name="TextBox 176"/>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78" name="TextBox 177"/>
          <p:cNvSpPr txBox="1"/>
          <p:nvPr/>
        </p:nvSpPr>
        <p:spPr>
          <a:xfrm>
            <a:off x="7573461"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179" name="TextBox 178"/>
          <p:cNvSpPr txBox="1"/>
          <p:nvPr/>
        </p:nvSpPr>
        <p:spPr>
          <a:xfrm>
            <a:off x="6810579" y="4502792"/>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80" name="TextBox 179"/>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1" name="TextBox 180"/>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2" name="TextBox 181"/>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3" name="TextBox 182"/>
          <p:cNvSpPr txBox="1"/>
          <p:nvPr/>
        </p:nvSpPr>
        <p:spPr>
          <a:xfrm>
            <a:off x="5436096"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4" name="TextBox 183"/>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5" name="TextBox 184"/>
          <p:cNvSpPr txBox="1"/>
          <p:nvPr/>
        </p:nvSpPr>
        <p:spPr>
          <a:xfrm>
            <a:off x="5861328" y="373020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1.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6" name="TextBox 185"/>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7" name="TextBox 186"/>
          <p:cNvSpPr txBox="1"/>
          <p:nvPr/>
        </p:nvSpPr>
        <p:spPr>
          <a:xfrm>
            <a:off x="6746679" y="34828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8" name="TextBox 187"/>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9" name="TextBox 188"/>
          <p:cNvSpPr txBox="1"/>
          <p:nvPr/>
        </p:nvSpPr>
        <p:spPr>
          <a:xfrm>
            <a:off x="7353546" y="334487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0" name="TextBox 189"/>
          <p:cNvSpPr txBox="1"/>
          <p:nvPr/>
        </p:nvSpPr>
        <p:spPr>
          <a:xfrm>
            <a:off x="7573461" y="40955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1" name="TextBox 190"/>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2" name="TextBox 191"/>
          <p:cNvSpPr txBox="1"/>
          <p:nvPr/>
        </p:nvSpPr>
        <p:spPr>
          <a:xfrm>
            <a:off x="2915848" y="439566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4" name="자유형 193"/>
          <p:cNvSpPr/>
          <p:nvPr/>
        </p:nvSpPr>
        <p:spPr>
          <a:xfrm>
            <a:off x="6855578"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5" name="TextBox 194"/>
          <p:cNvSpPr txBox="1"/>
          <p:nvPr/>
        </p:nvSpPr>
        <p:spPr>
          <a:xfrm>
            <a:off x="7034379" y="4111701"/>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표선면</a:t>
            </a:r>
          </a:p>
        </p:txBody>
      </p:sp>
      <p:sp>
        <p:nvSpPr>
          <p:cNvPr id="196" name="TextBox 195"/>
          <p:cNvSpPr txBox="1"/>
          <p:nvPr/>
        </p:nvSpPr>
        <p:spPr>
          <a:xfrm>
            <a:off x="7308336" y="44224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7" name="TextBox 196"/>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8" name="TextBox 197"/>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9" name="TextBox 198"/>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2" name="그룹 1"/>
          <p:cNvGrpSpPr/>
          <p:nvPr/>
        </p:nvGrpSpPr>
        <p:grpSpPr>
          <a:xfrm>
            <a:off x="5523413" y="4278751"/>
            <a:ext cx="597994" cy="639440"/>
            <a:chOff x="5523413" y="4278751"/>
            <a:chExt cx="597994" cy="639440"/>
          </a:xfrm>
        </p:grpSpPr>
        <p:sp>
          <p:nvSpPr>
            <p:cNvPr id="162" name="자유형 161"/>
            <p:cNvSpPr/>
            <p:nvPr/>
          </p:nvSpPr>
          <p:spPr>
            <a:xfrm>
              <a:off x="5566550"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72" name="TextBox 171"/>
            <p:cNvSpPr txBox="1"/>
            <p:nvPr/>
          </p:nvSpPr>
          <p:spPr>
            <a:xfrm>
              <a:off x="5579441" y="4463388"/>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안덕면</a:t>
              </a:r>
            </a:p>
          </p:txBody>
        </p:sp>
        <p:sp>
          <p:nvSpPr>
            <p:cNvPr id="200" name="TextBox 199"/>
            <p:cNvSpPr txBox="1"/>
            <p:nvPr/>
          </p:nvSpPr>
          <p:spPr>
            <a:xfrm>
              <a:off x="5523179" y="464534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8.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201" name="TextBox 200"/>
          <p:cNvSpPr txBox="1"/>
          <p:nvPr/>
        </p:nvSpPr>
        <p:spPr>
          <a:xfrm>
            <a:off x="5111655" y="47597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2" name="TextBox 201"/>
          <p:cNvSpPr txBox="1"/>
          <p:nvPr/>
        </p:nvSpPr>
        <p:spPr>
          <a:xfrm>
            <a:off x="786591" y="476843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3" name="TextBox 202"/>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4" name="TextBox 203"/>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5" name="TextBox 204"/>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6" name="TextBox 205"/>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7" name="TextBox 206"/>
          <p:cNvSpPr txBox="1"/>
          <p:nvPr/>
        </p:nvSpPr>
        <p:spPr>
          <a:xfrm>
            <a:off x="1925534" y="352019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7.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8" name="TextBox 207"/>
          <p:cNvSpPr txBox="1"/>
          <p:nvPr/>
        </p:nvSpPr>
        <p:spPr>
          <a:xfrm>
            <a:off x="1749907" y="471976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209" name="그룹 208"/>
          <p:cNvGrpSpPr/>
          <p:nvPr/>
        </p:nvGrpSpPr>
        <p:grpSpPr>
          <a:xfrm>
            <a:off x="5882886" y="4188953"/>
            <a:ext cx="930401" cy="776040"/>
            <a:chOff x="5882886" y="4296965"/>
            <a:chExt cx="930401" cy="776040"/>
          </a:xfrm>
        </p:grpSpPr>
        <p:sp>
          <p:nvSpPr>
            <p:cNvPr id="210" name="자유형 209"/>
            <p:cNvSpPr/>
            <p:nvPr/>
          </p:nvSpPr>
          <p:spPr>
            <a:xfrm>
              <a:off x="5882886" y="4296965"/>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211" name="그룹 210"/>
            <p:cNvGrpSpPr/>
            <p:nvPr/>
          </p:nvGrpSpPr>
          <p:grpSpPr>
            <a:xfrm>
              <a:off x="6076739" y="4470456"/>
              <a:ext cx="615984" cy="515951"/>
              <a:chOff x="6076739" y="4470456"/>
              <a:chExt cx="615984" cy="515951"/>
            </a:xfrm>
          </p:grpSpPr>
          <p:sp>
            <p:nvSpPr>
              <p:cNvPr id="212" name="TextBox 211"/>
              <p:cNvSpPr txBox="1"/>
              <p:nvPr/>
            </p:nvSpPr>
            <p:spPr>
              <a:xfrm>
                <a:off x="6076431" y="4470455"/>
                <a:ext cx="616600" cy="33561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13" name="TextBox 212"/>
              <p:cNvSpPr txBox="1"/>
              <p:nvPr/>
            </p:nvSpPr>
            <p:spPr>
              <a:xfrm>
                <a:off x="6095104" y="4836943"/>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8.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grpSp>
        <p:nvGrpSpPr>
          <p:cNvPr id="214" name="그룹 213"/>
          <p:cNvGrpSpPr/>
          <p:nvPr/>
        </p:nvGrpSpPr>
        <p:grpSpPr>
          <a:xfrm>
            <a:off x="6193020" y="3403046"/>
            <a:ext cx="617448" cy="788022"/>
            <a:chOff x="6193020" y="3511058"/>
            <a:chExt cx="617448" cy="788022"/>
          </a:xfrm>
        </p:grpSpPr>
        <p:sp>
          <p:nvSpPr>
            <p:cNvPr id="215" name="자유형 214"/>
            <p:cNvSpPr/>
            <p:nvPr/>
          </p:nvSpPr>
          <p:spPr>
            <a:xfrm>
              <a:off x="6193020" y="3511058"/>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216" name="그룹 215"/>
            <p:cNvGrpSpPr/>
            <p:nvPr/>
          </p:nvGrpSpPr>
          <p:grpSpPr>
            <a:xfrm>
              <a:off x="6267734" y="3624019"/>
              <a:ext cx="505025" cy="449866"/>
              <a:chOff x="6267734" y="3624019"/>
              <a:chExt cx="505025" cy="449866"/>
            </a:xfrm>
          </p:grpSpPr>
          <p:sp>
            <p:nvSpPr>
              <p:cNvPr id="217" name="TextBox 216"/>
              <p:cNvSpPr txBox="1"/>
              <p:nvPr/>
            </p:nvSpPr>
            <p:spPr>
              <a:xfrm>
                <a:off x="6304505" y="3766108"/>
                <a:ext cx="468488" cy="3051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18" name="TextBox 217"/>
              <p:cNvSpPr txBox="1"/>
              <p:nvPr/>
            </p:nvSpPr>
            <p:spPr>
              <a:xfrm>
                <a:off x="6267500" y="362401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4.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spTree>
    <p:extLst>
      <p:ext uri="{BB962C8B-B14F-4D97-AF65-F5344CB8AC3E}">
        <p14:creationId xmlns:p14="http://schemas.microsoft.com/office/powerpoint/2010/main" val="13448917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45.4</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쇼핑</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소매</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숙박 순으로 소비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a:t>
            </a:r>
            <a:r>
              <a:rPr lang="ko-KR" altLang="en-US"/>
              <a:t>관광 </a:t>
            </a:r>
            <a:r>
              <a:rPr lang="ko-KR" altLang="en-US" smtClean="0"/>
              <a:t>국적별 소비 분석 </a:t>
            </a:r>
            <a:r>
              <a:rPr lang="en-US" altLang="ko-KR"/>
              <a:t>– </a:t>
            </a:r>
            <a:r>
              <a:rPr lang="ko-KR" altLang="en-US"/>
              <a:t>중국인 관광객 </a:t>
            </a:r>
          </a:p>
        </p:txBody>
      </p:sp>
      <p:sp>
        <p:nvSpPr>
          <p:cNvPr id="2" name="텍스트 개체 틀 1"/>
          <p:cNvSpPr>
            <a:spLocks noGrp="1"/>
          </p:cNvSpPr>
          <p:nvPr>
            <p:ph type="body" sz="quarter" idx="12"/>
          </p:nvPr>
        </p:nvSpPr>
        <p:spPr>
          <a:xfrm>
            <a:off x="250828" y="518352"/>
            <a:ext cx="8137599" cy="284693"/>
          </a:xfrm>
        </p:spPr>
        <p:txBody>
          <a:bodyPr/>
          <a:lstStyle/>
          <a:p>
            <a:r>
              <a:rPr lang="en-US" altLang="ko-KR" smtClean="0"/>
              <a:t>[</a:t>
            </a:r>
            <a:r>
              <a:rPr lang="ko-KR" altLang="en-US" smtClean="0"/>
              <a:t>개</a:t>
            </a:r>
            <a:r>
              <a:rPr lang="ko-KR" altLang="en-US"/>
              <a:t>별</a:t>
            </a:r>
            <a:r>
              <a:rPr lang="en-US" altLang="ko-KR" smtClean="0"/>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197" name="모서리가 둥근 직사각형 196"/>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98" name="모서리가 둥근 직사각형 197"/>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99" name="모서리가 둥근 직사각형 198"/>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200" name="모서리가 둥근 직사각형 199"/>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201" name="모서리가 둥근 직사각형 200"/>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202" name="모서리가 둥근 직사각형 201"/>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203" name="모서리가 둥근 직사각형 202"/>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204" name="모서리가 둥근 직사각형 203"/>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205" name="모서리가 둥근 직사각형 204"/>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206" name="직사각형 205"/>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67.1</a:t>
            </a:r>
            <a:r>
              <a:rPr lang="ko-KR" altLang="en-US" sz="1200">
                <a:solidFill>
                  <a:srgbClr val="000000"/>
                </a:solidFill>
              </a:rPr>
              <a:t>만원</a:t>
            </a:r>
          </a:p>
        </p:txBody>
      </p:sp>
      <p:sp>
        <p:nvSpPr>
          <p:cNvPr id="207" name="직사각형 206"/>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64.1</a:t>
            </a:r>
            <a:r>
              <a:rPr lang="ko-KR" altLang="en-US" sz="1200">
                <a:solidFill>
                  <a:srgbClr val="000000"/>
                </a:solidFill>
              </a:rPr>
              <a:t>만원</a:t>
            </a:r>
          </a:p>
        </p:txBody>
      </p:sp>
      <p:sp>
        <p:nvSpPr>
          <p:cNvPr id="208" name="직사각형 207"/>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70.4</a:t>
            </a:r>
            <a:r>
              <a:rPr lang="ko-KR" altLang="en-US" sz="1200">
                <a:solidFill>
                  <a:srgbClr val="000000"/>
                </a:solidFill>
              </a:rPr>
              <a:t>만원</a:t>
            </a:r>
          </a:p>
        </p:txBody>
      </p:sp>
      <p:sp>
        <p:nvSpPr>
          <p:cNvPr id="209" name="직사각형 208"/>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65.2</a:t>
            </a:r>
            <a:r>
              <a:rPr lang="ko-KR" altLang="en-US" sz="1200">
                <a:solidFill>
                  <a:srgbClr val="000000"/>
                </a:solidFill>
              </a:rPr>
              <a:t>만원</a:t>
            </a:r>
          </a:p>
        </p:txBody>
      </p:sp>
      <p:grpSp>
        <p:nvGrpSpPr>
          <p:cNvPr id="210" name="그룹 209"/>
          <p:cNvGrpSpPr/>
          <p:nvPr/>
        </p:nvGrpSpPr>
        <p:grpSpPr>
          <a:xfrm>
            <a:off x="1909289" y="3443939"/>
            <a:ext cx="781200" cy="2957417"/>
            <a:chOff x="1909289" y="3477639"/>
            <a:chExt cx="781200" cy="2957417"/>
          </a:xfrm>
        </p:grpSpPr>
        <p:sp>
          <p:nvSpPr>
            <p:cNvPr id="211" name="직사각형 21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212" name="직사각형 21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8%</a:t>
              </a:r>
              <a:endParaRPr lang="ko-KR" altLang="en-US" sz="1200">
                <a:solidFill>
                  <a:srgbClr val="000000"/>
                </a:solidFill>
              </a:endParaRPr>
            </a:p>
          </p:txBody>
        </p:sp>
        <p:sp>
          <p:nvSpPr>
            <p:cNvPr id="213" name="직사각형 21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4" name="직사각형 21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15" name="직사각형 21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4%</a:t>
              </a:r>
              <a:endParaRPr lang="ko-KR" altLang="en-US" sz="1200">
                <a:solidFill>
                  <a:srgbClr val="000000"/>
                </a:solidFill>
              </a:endParaRPr>
            </a:p>
          </p:txBody>
        </p:sp>
        <p:sp>
          <p:nvSpPr>
            <p:cNvPr id="216" name="직사각형 21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5%</a:t>
              </a:r>
              <a:endParaRPr lang="ko-KR" altLang="en-US" sz="1200">
                <a:solidFill>
                  <a:srgbClr val="000000"/>
                </a:solidFill>
              </a:endParaRPr>
            </a:p>
          </p:txBody>
        </p:sp>
        <p:sp>
          <p:nvSpPr>
            <p:cNvPr id="217" name="직사각형 21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8" name="직사각형 21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a:t>
              </a:r>
              <a:endParaRPr lang="ko-KR" altLang="en-US" sz="1200">
                <a:solidFill>
                  <a:srgbClr val="000000"/>
                </a:solidFill>
              </a:endParaRPr>
            </a:p>
          </p:txBody>
        </p:sp>
      </p:grpSp>
      <p:grpSp>
        <p:nvGrpSpPr>
          <p:cNvPr id="219" name="그룹 218"/>
          <p:cNvGrpSpPr/>
          <p:nvPr/>
        </p:nvGrpSpPr>
        <p:grpSpPr>
          <a:xfrm>
            <a:off x="2774714" y="3443939"/>
            <a:ext cx="781200" cy="2957417"/>
            <a:chOff x="1909289" y="3477639"/>
            <a:chExt cx="781200" cy="2957417"/>
          </a:xfrm>
        </p:grpSpPr>
        <p:sp>
          <p:nvSpPr>
            <p:cNvPr id="220" name="직사각형 21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221" name="직사각형 22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7%</a:t>
              </a:r>
              <a:endParaRPr lang="ko-KR" altLang="en-US" sz="1200">
                <a:solidFill>
                  <a:srgbClr val="000000"/>
                </a:solidFill>
              </a:endParaRPr>
            </a:p>
          </p:txBody>
        </p:sp>
        <p:sp>
          <p:nvSpPr>
            <p:cNvPr id="222" name="직사각형 22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3" name="직사각형 22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24" name="직사각형 22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4%</a:t>
              </a:r>
              <a:endParaRPr lang="ko-KR" altLang="en-US" sz="1200">
                <a:solidFill>
                  <a:srgbClr val="000000"/>
                </a:solidFill>
              </a:endParaRPr>
            </a:p>
          </p:txBody>
        </p:sp>
        <p:sp>
          <p:nvSpPr>
            <p:cNvPr id="225" name="직사각형 22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5%</a:t>
              </a:r>
              <a:endParaRPr lang="ko-KR" altLang="en-US" sz="1200">
                <a:solidFill>
                  <a:srgbClr val="000000"/>
                </a:solidFill>
              </a:endParaRPr>
            </a:p>
          </p:txBody>
        </p:sp>
        <p:sp>
          <p:nvSpPr>
            <p:cNvPr id="226" name="직사각형 22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7" name="직사각형 22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a:t>
              </a:r>
              <a:endParaRPr lang="ko-KR" altLang="en-US" sz="1200">
                <a:solidFill>
                  <a:srgbClr val="000000"/>
                </a:solidFill>
              </a:endParaRPr>
            </a:p>
          </p:txBody>
        </p:sp>
      </p:grpSp>
      <p:grpSp>
        <p:nvGrpSpPr>
          <p:cNvPr id="228" name="그룹 227"/>
          <p:cNvGrpSpPr/>
          <p:nvPr/>
        </p:nvGrpSpPr>
        <p:grpSpPr>
          <a:xfrm>
            <a:off x="3640139" y="3443939"/>
            <a:ext cx="781200" cy="2957417"/>
            <a:chOff x="1909289" y="3477639"/>
            <a:chExt cx="781200" cy="2957417"/>
          </a:xfrm>
        </p:grpSpPr>
        <p:sp>
          <p:nvSpPr>
            <p:cNvPr id="229" name="직사각형 22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230" name="직사각형 22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2%</a:t>
              </a:r>
              <a:endParaRPr lang="ko-KR" altLang="en-US" sz="1200">
                <a:solidFill>
                  <a:srgbClr val="000000"/>
                </a:solidFill>
              </a:endParaRPr>
            </a:p>
          </p:txBody>
        </p:sp>
        <p:sp>
          <p:nvSpPr>
            <p:cNvPr id="231" name="직사각형 23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2" name="직사각형 23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33" name="직사각형 23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8%</a:t>
              </a:r>
              <a:endParaRPr lang="ko-KR" altLang="en-US" sz="1200">
                <a:solidFill>
                  <a:srgbClr val="000000"/>
                </a:solidFill>
              </a:endParaRPr>
            </a:p>
          </p:txBody>
        </p:sp>
        <p:sp>
          <p:nvSpPr>
            <p:cNvPr id="234" name="직사각형 23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5%</a:t>
              </a:r>
              <a:endParaRPr lang="ko-KR" altLang="en-US" sz="1200">
                <a:solidFill>
                  <a:srgbClr val="000000"/>
                </a:solidFill>
              </a:endParaRPr>
            </a:p>
          </p:txBody>
        </p:sp>
        <p:sp>
          <p:nvSpPr>
            <p:cNvPr id="235" name="직사각형 23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6" name="직사각형 23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6%</a:t>
              </a:r>
              <a:endParaRPr lang="ko-KR" altLang="en-US" sz="1200">
                <a:solidFill>
                  <a:srgbClr val="000000"/>
                </a:solidFill>
              </a:endParaRPr>
            </a:p>
          </p:txBody>
        </p:sp>
      </p:grpSp>
      <p:grpSp>
        <p:nvGrpSpPr>
          <p:cNvPr id="237" name="그룹 236"/>
          <p:cNvGrpSpPr/>
          <p:nvPr/>
        </p:nvGrpSpPr>
        <p:grpSpPr>
          <a:xfrm>
            <a:off x="4505564" y="3443939"/>
            <a:ext cx="781200" cy="2957417"/>
            <a:chOff x="1909289" y="3477639"/>
            <a:chExt cx="781200" cy="2957417"/>
          </a:xfrm>
        </p:grpSpPr>
        <p:sp>
          <p:nvSpPr>
            <p:cNvPr id="238" name="직사각형 237"/>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sp>
          <p:nvSpPr>
            <p:cNvPr id="239" name="직사각형 238"/>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2%</a:t>
              </a:r>
              <a:endParaRPr lang="ko-KR" altLang="en-US" sz="1200">
                <a:solidFill>
                  <a:srgbClr val="000000"/>
                </a:solidFill>
              </a:endParaRPr>
            </a:p>
          </p:txBody>
        </p:sp>
        <p:sp>
          <p:nvSpPr>
            <p:cNvPr id="240" name="직사각형 239"/>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1" name="직사각형 240"/>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42" name="직사각형 241"/>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2%</a:t>
              </a:r>
              <a:endParaRPr lang="ko-KR" altLang="en-US" sz="1200">
                <a:solidFill>
                  <a:srgbClr val="000000"/>
                </a:solidFill>
              </a:endParaRPr>
            </a:p>
          </p:txBody>
        </p:sp>
        <p:sp>
          <p:nvSpPr>
            <p:cNvPr id="243" name="직사각형 242"/>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2%</a:t>
              </a:r>
              <a:endParaRPr lang="ko-KR" altLang="en-US" sz="1200">
                <a:solidFill>
                  <a:srgbClr val="000000"/>
                </a:solidFill>
              </a:endParaRPr>
            </a:p>
          </p:txBody>
        </p:sp>
        <p:sp>
          <p:nvSpPr>
            <p:cNvPr id="244" name="직사각형 243"/>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5" name="직사각형 244"/>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a:t>
              </a:r>
              <a:endParaRPr lang="ko-KR" altLang="en-US" sz="1200">
                <a:solidFill>
                  <a:srgbClr val="000000"/>
                </a:solidFill>
              </a:endParaRPr>
            </a:p>
          </p:txBody>
        </p:sp>
      </p:grpSp>
      <p:sp>
        <p:nvSpPr>
          <p:cNvPr id="246" name="모서리가 둥근 직사각형 245"/>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247" name="직선 연결선 246"/>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8" name="타원 247"/>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249" name="그룹 248"/>
          <p:cNvGrpSpPr/>
          <p:nvPr/>
        </p:nvGrpSpPr>
        <p:grpSpPr>
          <a:xfrm>
            <a:off x="1909289" y="2459100"/>
            <a:ext cx="782771" cy="108000"/>
            <a:chOff x="1909289" y="2402892"/>
            <a:chExt cx="782771" cy="108000"/>
          </a:xfrm>
        </p:grpSpPr>
        <p:sp>
          <p:nvSpPr>
            <p:cNvPr id="250" name="타원 249"/>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1" name="타원 250"/>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52" name="TextBox 251"/>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3" name="TextBox 252"/>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4" name="타원 253"/>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5" name="타원 254"/>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6" name="타원 255"/>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7" name="타원 256"/>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8" name="TextBox 257"/>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9" name="TextBox 258"/>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60" name="그룹 259"/>
          <p:cNvGrpSpPr/>
          <p:nvPr/>
        </p:nvGrpSpPr>
        <p:grpSpPr>
          <a:xfrm>
            <a:off x="3639689" y="2222764"/>
            <a:ext cx="782771" cy="584643"/>
            <a:chOff x="2774489" y="2160281"/>
            <a:chExt cx="782771" cy="584643"/>
          </a:xfrm>
        </p:grpSpPr>
        <p:sp>
          <p:nvSpPr>
            <p:cNvPr id="261" name="TextBox 260"/>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2" name="TextBox 261"/>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63" name="그룹 262"/>
          <p:cNvGrpSpPr/>
          <p:nvPr/>
        </p:nvGrpSpPr>
        <p:grpSpPr>
          <a:xfrm>
            <a:off x="4504889" y="2222764"/>
            <a:ext cx="782771" cy="584643"/>
            <a:chOff x="2774489" y="2160281"/>
            <a:chExt cx="782771" cy="584643"/>
          </a:xfrm>
        </p:grpSpPr>
        <p:sp>
          <p:nvSpPr>
            <p:cNvPr id="264" name="TextBox 263"/>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5" name="TextBox 264"/>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TextBox 77"/>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79" name="TextBox 78"/>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0" name="TextBox 79"/>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1" name="TextBox 80"/>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5" name="직사각형 84"/>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86" name="타원 85"/>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5" name="직사각형 104"/>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64.1</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65.2</a:t>
            </a:r>
            <a:r>
              <a:rPr lang="ko-KR" altLang="en-US" sz="1200">
                <a:solidFill>
                  <a:srgbClr val="000000"/>
                </a:solidFill>
              </a:rPr>
              <a:t>만원으로 </a:t>
            </a:r>
            <a:r>
              <a:rPr lang="en-US" altLang="ko-KR" sz="1200">
                <a:solidFill>
                  <a:srgbClr val="000000"/>
                </a:solidFill>
              </a:rPr>
              <a:t>2% </a:t>
            </a:r>
            <a:r>
              <a:rPr lang="ko-KR" altLang="en-US" sz="1200">
                <a:solidFill>
                  <a:srgbClr val="000000"/>
                </a:solidFill>
              </a:rPr>
              <a:t>증가</a:t>
            </a:r>
            <a:endParaRPr lang="en-US" altLang="ko-KR" sz="1200">
              <a:solidFill>
                <a:srgbClr val="000000"/>
              </a:solidFill>
            </a:endParaRPr>
          </a:p>
        </p:txBody>
      </p:sp>
      <p:sp>
        <p:nvSpPr>
          <p:cNvPr id="106" name="직사각형 105"/>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숙박 업종의 비중은</a:t>
            </a:r>
            <a:r>
              <a:rPr lang="en-US" altLang="ko-KR" sz="1200">
                <a:solidFill>
                  <a:srgbClr val="000000"/>
                </a:solidFill>
              </a:rPr>
              <a:t> Y1(H1, H2) 27~28%</a:t>
            </a:r>
            <a:r>
              <a:rPr lang="ko-KR" altLang="en-US" sz="1200">
                <a:solidFill>
                  <a:srgbClr val="000000"/>
                </a:solidFill>
              </a:rPr>
              <a:t>에서 </a:t>
            </a:r>
            <a:r>
              <a:rPr lang="en-US" altLang="ko-KR" sz="1200">
                <a:solidFill>
                  <a:srgbClr val="000000"/>
                </a:solidFill>
              </a:rPr>
              <a:t>Y2(H3, H4) 22%</a:t>
            </a:r>
            <a:r>
              <a:rPr lang="ko-KR" altLang="en-US" sz="1200">
                <a:solidFill>
                  <a:srgbClr val="000000"/>
                </a:solidFill>
              </a:rPr>
              <a:t>로 감소</a:t>
            </a:r>
            <a:endParaRPr lang="en-US" altLang="ko-KR" sz="1200">
              <a:solidFill>
                <a:srgbClr val="000000"/>
              </a:solidFill>
            </a:endParaRPr>
          </a:p>
        </p:txBody>
      </p:sp>
      <p:sp>
        <p:nvSpPr>
          <p:cNvPr id="107" name="직사각형 106"/>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Y1(H1, H2) 59%</a:t>
            </a:r>
            <a:r>
              <a:rPr lang="ko-KR" altLang="en-US" sz="1200">
                <a:solidFill>
                  <a:srgbClr val="000000"/>
                </a:solidFill>
              </a:rPr>
              <a:t>에서 </a:t>
            </a:r>
            <a:r>
              <a:rPr lang="en-US" altLang="ko-KR" sz="1200">
                <a:solidFill>
                  <a:srgbClr val="000000"/>
                </a:solidFill>
              </a:rPr>
              <a:t>Y2(H3, H4) 60%</a:t>
            </a:r>
            <a:r>
              <a:rPr lang="ko-KR" altLang="en-US" sz="1200">
                <a:solidFill>
                  <a:srgbClr val="000000"/>
                </a:solidFill>
              </a:rPr>
              <a:t>대를 돌파한 </a:t>
            </a:r>
            <a:r>
              <a:rPr lang="en-US" altLang="ko-KR" sz="1200">
                <a:solidFill>
                  <a:srgbClr val="000000"/>
                </a:solidFill>
              </a:rPr>
              <a:t>63~64%</a:t>
            </a:r>
            <a:r>
              <a:rPr lang="ko-KR" altLang="en-US" sz="1200">
                <a:solidFill>
                  <a:srgbClr val="000000"/>
                </a:solidFill>
              </a:rPr>
              <a:t>로</a:t>
            </a:r>
            <a:r>
              <a:rPr lang="en-US" altLang="ko-KR" sz="1200">
                <a:solidFill>
                  <a:srgbClr val="000000"/>
                </a:solidFill>
              </a:rPr>
              <a:t> </a:t>
            </a:r>
            <a:r>
              <a:rPr lang="ko-KR" altLang="en-US" sz="1200">
                <a:solidFill>
                  <a:srgbClr val="000000"/>
                </a:solidFill>
              </a:rPr>
              <a:t>상승</a:t>
            </a:r>
            <a:endParaRPr lang="en-US" altLang="ko-KR" sz="1200">
              <a:solidFill>
                <a:srgbClr val="000000"/>
              </a:solidFill>
            </a:endParaRPr>
          </a:p>
        </p:txBody>
      </p:sp>
      <p:sp>
        <p:nvSpPr>
          <p:cNvPr id="108" name="타원 107"/>
          <p:cNvSpPr/>
          <p:nvPr/>
        </p:nvSpPr>
        <p:spPr>
          <a:xfrm>
            <a:off x="5822615" y="553628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9" name="타원 108"/>
          <p:cNvSpPr/>
          <p:nvPr/>
        </p:nvSpPr>
        <p:spPr>
          <a:xfrm>
            <a:off x="5822615" y="427519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10" name="타원 109"/>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11" name="직사각형 110"/>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grpSp>
        <p:nvGrpSpPr>
          <p:cNvPr id="112" name="그룹 111"/>
          <p:cNvGrpSpPr/>
          <p:nvPr/>
        </p:nvGrpSpPr>
        <p:grpSpPr>
          <a:xfrm>
            <a:off x="2231740" y="5222171"/>
            <a:ext cx="2993171" cy="144000"/>
            <a:chOff x="2231740" y="5222171"/>
            <a:chExt cx="2993171" cy="144000"/>
          </a:xfrm>
        </p:grpSpPr>
        <p:sp>
          <p:nvSpPr>
            <p:cNvPr id="113" name="TextBox 112"/>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9%</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114" name="TextBox 113"/>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9%</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115" name="TextBox 114"/>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63%</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116" name="TextBox 115"/>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64%</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grpSp>
      <p:sp>
        <p:nvSpPr>
          <p:cNvPr id="117" name="직사각형 116"/>
          <p:cNvSpPr/>
          <p:nvPr/>
        </p:nvSpPr>
        <p:spPr>
          <a:xfrm>
            <a:off x="1903851" y="3809276"/>
            <a:ext cx="3384000" cy="339804"/>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118" name="타원 117"/>
          <p:cNvSpPr/>
          <p:nvPr/>
        </p:nvSpPr>
        <p:spPr>
          <a:xfrm>
            <a:off x="1871724" y="485128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19" name="타원 118"/>
          <p:cNvSpPr/>
          <p:nvPr/>
        </p:nvSpPr>
        <p:spPr>
          <a:xfrm>
            <a:off x="1871724" y="3729910"/>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1" name="TextBox 100"/>
          <p:cNvSpPr txBox="1"/>
          <p:nvPr/>
        </p:nvSpPr>
        <p:spPr>
          <a:xfrm>
            <a:off x="241125" y="6479851"/>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연평균 건당 이용 금액이 </a:t>
            </a:r>
            <a:r>
              <a:rPr lang="en-US" altLang="ko-KR" sz="1000" spc="-30">
                <a:ln>
                  <a:solidFill>
                    <a:srgbClr val="000000">
                      <a:alpha val="0"/>
                    </a:srgbClr>
                  </a:solidFill>
                </a:ln>
                <a:solidFill>
                  <a:srgbClr val="000000"/>
                </a:solidFill>
              </a:rPr>
              <a:t>1,000</a:t>
            </a:r>
            <a:r>
              <a:rPr lang="ko-KR" altLang="en-US" sz="1000" spc="-30">
                <a:ln>
                  <a:solidFill>
                    <a:srgbClr val="000000">
                      <a:alpha val="0"/>
                    </a:srgbClr>
                  </a:solidFill>
                </a:ln>
                <a:solidFill>
                  <a:srgbClr val="000000"/>
                </a:solidFill>
              </a:rPr>
              <a:t>만원 이상인  가맹점</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문화</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레져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숙박 </a:t>
            </a:r>
            <a:r>
              <a:rPr lang="en-US" altLang="ko-KR" sz="1000" spc="-30">
                <a:ln>
                  <a:solidFill>
                    <a:srgbClr val="000000">
                      <a:alpha val="0"/>
                    </a:srgbClr>
                  </a:solidFill>
                </a:ln>
                <a:solidFill>
                  <a:srgbClr val="000000"/>
                </a:solidFill>
              </a:rPr>
              <a:t>10</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기타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의 데이터는 인당 소비금액 및 소비 비중이 왜곡되어 계산 시 제외  </a:t>
            </a:r>
          </a:p>
        </p:txBody>
      </p:sp>
    </p:spTree>
    <p:extLst>
      <p:ext uri="{BB962C8B-B14F-4D97-AF65-F5344CB8AC3E}">
        <p14:creationId xmlns:p14="http://schemas.microsoft.com/office/powerpoint/2010/main" val="371760566"/>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65.9%)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0.3%) – </a:t>
            </a:r>
            <a:r>
              <a:rPr lang="ko-KR" altLang="en-US" sz="1600" spc="100">
                <a:ln>
                  <a:solidFill>
                    <a:prstClr val="black">
                      <a:alpha val="20000"/>
                    </a:prstClr>
                  </a:solidFill>
                </a:ln>
                <a:solidFill>
                  <a:srgbClr val="000000"/>
                </a:solidFill>
                <a:latin typeface="NOVA Bold"/>
                <a:ea typeface="NOVA Bold"/>
                <a:cs typeface="Arial" pitchFamily="34" charset="0"/>
              </a:rPr>
              <a:t>표선면</a:t>
            </a:r>
            <a:r>
              <a:rPr lang="en-US" altLang="ko-KR" sz="1600" spc="100">
                <a:ln>
                  <a:solidFill>
                    <a:prstClr val="black">
                      <a:alpha val="20000"/>
                    </a:prstClr>
                  </a:solidFill>
                </a:ln>
                <a:solidFill>
                  <a:srgbClr val="000000"/>
                </a:solidFill>
                <a:latin typeface="NOVA Bold"/>
                <a:ea typeface="NOVA Bold"/>
                <a:cs typeface="Arial" pitchFamily="34" charset="0"/>
              </a:rPr>
              <a:t> (9.7%)</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84.7%) – </a:t>
            </a:r>
            <a:r>
              <a:rPr lang="ko-KR" altLang="en-US" sz="1600" spc="100">
                <a:ln>
                  <a:solidFill>
                    <a:prstClr val="black">
                      <a:alpha val="20000"/>
                    </a:prstClr>
                  </a:solidFill>
                </a:ln>
                <a:solidFill>
                  <a:srgbClr val="000000"/>
                </a:solidFill>
                <a:latin typeface="NOVA Bold"/>
                <a:ea typeface="NOVA Bold"/>
                <a:cs typeface="Arial" pitchFamily="34" charset="0"/>
              </a:rPr>
              <a:t>표선면 </a:t>
            </a:r>
            <a:r>
              <a:rPr lang="en-US" altLang="ko-KR" sz="1600" spc="100">
                <a:ln>
                  <a:solidFill>
                    <a:prstClr val="black">
                      <a:alpha val="20000"/>
                    </a:prstClr>
                  </a:solidFill>
                </a:ln>
                <a:solidFill>
                  <a:srgbClr val="000000"/>
                </a:solidFill>
                <a:latin typeface="NOVA Bold"/>
                <a:ea typeface="NOVA Bold"/>
                <a:cs typeface="Arial" pitchFamily="34" charset="0"/>
              </a:rPr>
              <a:t>(7.0%)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5.2%)</a:t>
            </a:r>
          </a:p>
        </p:txBody>
      </p:sp>
      <p:sp>
        <p:nvSpPr>
          <p:cNvPr id="4" name="제목 3"/>
          <p:cNvSpPr>
            <a:spLocks noGrp="1"/>
          </p:cNvSpPr>
          <p:nvPr>
            <p:ph type="title"/>
          </p:nvPr>
        </p:nvSpPr>
        <p:spPr/>
        <p:txBody>
          <a:bodyPr/>
          <a:lstStyle/>
          <a:p>
            <a:r>
              <a:rPr lang="ko-KR" altLang="en-US" smtClean="0"/>
              <a:t>      관광 국적별 소비 분석 </a:t>
            </a:r>
            <a:r>
              <a:rPr lang="en-US" altLang="ko-KR"/>
              <a:t>– </a:t>
            </a:r>
            <a:r>
              <a:rPr lang="ko-KR" altLang="en-US"/>
              <a:t>중국인 관광객 </a:t>
            </a:r>
          </a:p>
        </p:txBody>
      </p:sp>
      <p:sp>
        <p:nvSpPr>
          <p:cNvPr id="6" name="텍스트 개체 틀 5"/>
          <p:cNvSpPr>
            <a:spLocks noGrp="1"/>
          </p:cNvSpPr>
          <p:nvPr>
            <p:ph type="body" sz="quarter" idx="12"/>
          </p:nvPr>
        </p:nvSpPr>
        <p:spPr>
          <a:xfrm>
            <a:off x="250828" y="518352"/>
            <a:ext cx="8137599" cy="284693"/>
          </a:xfrm>
        </p:spPr>
        <p:txBody>
          <a:bodyPr/>
          <a:lstStyle/>
          <a:p>
            <a:r>
              <a:rPr lang="en-US" altLang="ko-KR" smtClean="0"/>
              <a:t>[</a:t>
            </a:r>
            <a:r>
              <a:rPr lang="ko-KR" altLang="en-US" smtClean="0"/>
              <a:t>단체</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141" name="TextBox 140"/>
          <p:cNvSpPr txBox="1"/>
          <p:nvPr/>
        </p:nvSpPr>
        <p:spPr>
          <a:xfrm>
            <a:off x="4836947" y="5301208"/>
            <a:ext cx="3809093" cy="6776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제주시 도심</a:t>
            </a:r>
            <a:r>
              <a:rPr lang="en-US" altLang="ko-KR" sz="1200">
                <a:solidFill>
                  <a:srgbClr val="000000"/>
                </a:solidFill>
                <a:cs typeface="Arial Narrow" pitchFamily="34" charset="0"/>
              </a:rPr>
              <a:t>(+18.9%p)</a:t>
            </a:r>
            <a:r>
              <a:rPr lang="ko-KR" altLang="en-US" sz="1200">
                <a:solidFill>
                  <a:srgbClr val="000000"/>
                </a:solidFill>
                <a:cs typeface="Arial Narrow" pitchFamily="34" charset="0"/>
              </a:rPr>
              <a:t>의 비중만 대폭 증가</a:t>
            </a:r>
            <a:endParaRPr lang="en-US" altLang="ko-KR" sz="1200">
              <a:solidFill>
                <a:srgbClr val="000000"/>
              </a:solidFill>
              <a:cs typeface="Arial Narrow" pitchFamily="34" charset="0"/>
            </a:endParaRPr>
          </a:p>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서귀포시 지역은 도심</a:t>
            </a:r>
            <a:r>
              <a:rPr lang="en-US" altLang="ko-KR" sz="1200">
                <a:solidFill>
                  <a:srgbClr val="000000"/>
                </a:solidFill>
                <a:cs typeface="Arial Narrow" pitchFamily="34" charset="0"/>
              </a:rPr>
              <a:t>(-15.1%p), </a:t>
            </a:r>
            <a:r>
              <a:rPr lang="ko-KR" altLang="en-US" sz="1200">
                <a:solidFill>
                  <a:srgbClr val="000000"/>
                </a:solidFill>
                <a:cs typeface="Arial Narrow" pitchFamily="34" charset="0"/>
              </a:rPr>
              <a:t>표선면</a:t>
            </a:r>
            <a:r>
              <a:rPr lang="en-US" altLang="ko-KR" sz="1200">
                <a:solidFill>
                  <a:srgbClr val="000000"/>
                </a:solidFill>
                <a:cs typeface="Arial Narrow" pitchFamily="34" charset="0"/>
              </a:rPr>
              <a:t>(-2.7%p) </a:t>
            </a:r>
            <a:r>
              <a:rPr lang="ko-KR" altLang="en-US" sz="1200">
                <a:solidFill>
                  <a:srgbClr val="000000"/>
                </a:solidFill>
                <a:cs typeface="Arial Narrow" pitchFamily="34" charset="0"/>
              </a:rPr>
              <a:t>등 전반적으로 비중이 축소</a:t>
            </a:r>
          </a:p>
        </p:txBody>
      </p:sp>
      <p:sp>
        <p:nvSpPr>
          <p:cNvPr id="87" name="모서리가 둥근 직사각형 86"/>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255"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257" name="자유형 256"/>
          <p:cNvSpPr/>
          <p:nvPr/>
        </p:nvSpPr>
        <p:spPr>
          <a:xfrm>
            <a:off x="534747"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58" name="자유형 257"/>
          <p:cNvSpPr/>
          <p:nvPr/>
        </p:nvSpPr>
        <p:spPr>
          <a:xfrm>
            <a:off x="3820755"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59" name="자유형 258"/>
          <p:cNvSpPr/>
          <p:nvPr/>
        </p:nvSpPr>
        <p:spPr>
          <a:xfrm>
            <a:off x="2356430"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0" name="자유형 259"/>
          <p:cNvSpPr/>
          <p:nvPr/>
        </p:nvSpPr>
        <p:spPr>
          <a:xfrm>
            <a:off x="2252817"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1" name="자유형 260"/>
          <p:cNvSpPr/>
          <p:nvPr/>
        </p:nvSpPr>
        <p:spPr>
          <a:xfrm>
            <a:off x="865674"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2" name="자유형 261"/>
          <p:cNvSpPr/>
          <p:nvPr/>
        </p:nvSpPr>
        <p:spPr>
          <a:xfrm>
            <a:off x="488227"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3" name="자유형 262"/>
          <p:cNvSpPr/>
          <p:nvPr/>
        </p:nvSpPr>
        <p:spPr>
          <a:xfrm>
            <a:off x="543205"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4" name="자유형 263"/>
          <p:cNvSpPr/>
          <p:nvPr/>
        </p:nvSpPr>
        <p:spPr>
          <a:xfrm>
            <a:off x="682765"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5" name="자유형 264"/>
          <p:cNvSpPr/>
          <p:nvPr/>
        </p:nvSpPr>
        <p:spPr>
          <a:xfrm>
            <a:off x="590571"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6" name="자유형 265"/>
          <p:cNvSpPr/>
          <p:nvPr/>
        </p:nvSpPr>
        <p:spPr>
          <a:xfrm>
            <a:off x="590571"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7" name="자유형 266"/>
          <p:cNvSpPr/>
          <p:nvPr/>
        </p:nvSpPr>
        <p:spPr>
          <a:xfrm>
            <a:off x="1199561"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8" name="자유형 267"/>
          <p:cNvSpPr/>
          <p:nvPr/>
        </p:nvSpPr>
        <p:spPr>
          <a:xfrm>
            <a:off x="1023631"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9" name="자유형 268"/>
          <p:cNvSpPr/>
          <p:nvPr/>
        </p:nvSpPr>
        <p:spPr>
          <a:xfrm>
            <a:off x="1408760"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0" name="자유형 269"/>
          <p:cNvSpPr/>
          <p:nvPr/>
        </p:nvSpPr>
        <p:spPr>
          <a:xfrm>
            <a:off x="1826031" y="3403046"/>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1" name="자유형 270"/>
          <p:cNvSpPr/>
          <p:nvPr/>
        </p:nvSpPr>
        <p:spPr>
          <a:xfrm>
            <a:off x="1515897" y="4188953"/>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2" name="자유형 271"/>
          <p:cNvSpPr/>
          <p:nvPr/>
        </p:nvSpPr>
        <p:spPr>
          <a:xfrm>
            <a:off x="2202588"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3" name="자유형 272"/>
          <p:cNvSpPr/>
          <p:nvPr/>
        </p:nvSpPr>
        <p:spPr>
          <a:xfrm>
            <a:off x="2773349"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4" name="자유형 273"/>
          <p:cNvSpPr/>
          <p:nvPr/>
        </p:nvSpPr>
        <p:spPr>
          <a:xfrm>
            <a:off x="3076434"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5" name="자유형 274"/>
          <p:cNvSpPr/>
          <p:nvPr/>
        </p:nvSpPr>
        <p:spPr>
          <a:xfrm>
            <a:off x="2488589"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6" name="자유형 275"/>
          <p:cNvSpPr/>
          <p:nvPr/>
        </p:nvSpPr>
        <p:spPr>
          <a:xfrm>
            <a:off x="2201012"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7" name="TextBox 276"/>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278" name="TextBox 277"/>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279" name="TextBox 278"/>
          <p:cNvSpPr txBox="1"/>
          <p:nvPr/>
        </p:nvSpPr>
        <p:spPr>
          <a:xfrm>
            <a:off x="740563"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280" name="TextBox 279"/>
          <p:cNvSpPr txBox="1"/>
          <p:nvPr/>
        </p:nvSpPr>
        <p:spPr>
          <a:xfrm>
            <a:off x="1212686" y="446338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281" name="TextBox 280"/>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282" name="TextBox 281"/>
          <p:cNvSpPr txBox="1"/>
          <p:nvPr/>
        </p:nvSpPr>
        <p:spPr>
          <a:xfrm>
            <a:off x="1500429" y="391131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애월읍</a:t>
            </a:r>
          </a:p>
        </p:txBody>
      </p:sp>
      <p:sp>
        <p:nvSpPr>
          <p:cNvPr id="283" name="TextBox 282"/>
          <p:cNvSpPr txBox="1"/>
          <p:nvPr/>
        </p:nvSpPr>
        <p:spPr>
          <a:xfrm>
            <a:off x="1937750" y="3658096"/>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84" name="TextBox 283"/>
          <p:cNvSpPr txBox="1"/>
          <p:nvPr/>
        </p:nvSpPr>
        <p:spPr>
          <a:xfrm>
            <a:off x="2375214"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285" name="TextBox 284"/>
          <p:cNvSpPr txBox="1"/>
          <p:nvPr/>
        </p:nvSpPr>
        <p:spPr>
          <a:xfrm>
            <a:off x="2982672"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286" name="TextBox 285"/>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287" name="TextBox 286"/>
          <p:cNvSpPr txBox="1"/>
          <p:nvPr/>
        </p:nvSpPr>
        <p:spPr>
          <a:xfrm>
            <a:off x="3206472"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288" name="TextBox 287"/>
          <p:cNvSpPr txBox="1"/>
          <p:nvPr/>
        </p:nvSpPr>
        <p:spPr>
          <a:xfrm>
            <a:off x="2667390" y="4111701"/>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표선면</a:t>
            </a:r>
          </a:p>
        </p:txBody>
      </p:sp>
      <p:sp>
        <p:nvSpPr>
          <p:cNvPr id="289" name="TextBox 288"/>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290" name="TextBox 289"/>
          <p:cNvSpPr txBox="1"/>
          <p:nvPr/>
        </p:nvSpPr>
        <p:spPr>
          <a:xfrm>
            <a:off x="1730655" y="4362444"/>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92" name="자유형 291"/>
          <p:cNvSpPr/>
          <p:nvPr/>
        </p:nvSpPr>
        <p:spPr>
          <a:xfrm>
            <a:off x="4901736"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3" name="자유형 292"/>
          <p:cNvSpPr/>
          <p:nvPr/>
        </p:nvSpPr>
        <p:spPr>
          <a:xfrm>
            <a:off x="8187744"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4" name="자유형 293"/>
          <p:cNvSpPr/>
          <p:nvPr/>
        </p:nvSpPr>
        <p:spPr>
          <a:xfrm>
            <a:off x="6723419"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5" name="자유형 294"/>
          <p:cNvSpPr/>
          <p:nvPr/>
        </p:nvSpPr>
        <p:spPr>
          <a:xfrm>
            <a:off x="6619806"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6" name="자유형 295"/>
          <p:cNvSpPr/>
          <p:nvPr/>
        </p:nvSpPr>
        <p:spPr>
          <a:xfrm>
            <a:off x="5232663"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7" name="자유형 296"/>
          <p:cNvSpPr/>
          <p:nvPr/>
        </p:nvSpPr>
        <p:spPr>
          <a:xfrm>
            <a:off x="4855216"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8" name="자유형 297"/>
          <p:cNvSpPr/>
          <p:nvPr/>
        </p:nvSpPr>
        <p:spPr>
          <a:xfrm>
            <a:off x="4910194"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9" name="자유형 298"/>
          <p:cNvSpPr/>
          <p:nvPr/>
        </p:nvSpPr>
        <p:spPr>
          <a:xfrm>
            <a:off x="5049754"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0" name="자유형 299"/>
          <p:cNvSpPr/>
          <p:nvPr/>
        </p:nvSpPr>
        <p:spPr>
          <a:xfrm>
            <a:off x="4957560"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1" name="자유형 300"/>
          <p:cNvSpPr/>
          <p:nvPr/>
        </p:nvSpPr>
        <p:spPr>
          <a:xfrm>
            <a:off x="4957560"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2" name="자유형 301"/>
          <p:cNvSpPr/>
          <p:nvPr/>
        </p:nvSpPr>
        <p:spPr>
          <a:xfrm>
            <a:off x="5566550"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3" name="자유형 302"/>
          <p:cNvSpPr/>
          <p:nvPr/>
        </p:nvSpPr>
        <p:spPr>
          <a:xfrm>
            <a:off x="5390620"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4" name="자유형 303"/>
          <p:cNvSpPr/>
          <p:nvPr/>
        </p:nvSpPr>
        <p:spPr>
          <a:xfrm>
            <a:off x="5775749"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7" name="자유형 306"/>
          <p:cNvSpPr/>
          <p:nvPr/>
        </p:nvSpPr>
        <p:spPr>
          <a:xfrm>
            <a:off x="6569577"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8" name="자유형 307"/>
          <p:cNvSpPr/>
          <p:nvPr/>
        </p:nvSpPr>
        <p:spPr>
          <a:xfrm>
            <a:off x="7140338"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9" name="자유형 308"/>
          <p:cNvSpPr/>
          <p:nvPr/>
        </p:nvSpPr>
        <p:spPr>
          <a:xfrm>
            <a:off x="7443423"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11" name="자유형 310"/>
          <p:cNvSpPr/>
          <p:nvPr/>
        </p:nvSpPr>
        <p:spPr>
          <a:xfrm>
            <a:off x="6568001"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12" name="TextBox 311"/>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313" name="TextBox 312"/>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314" name="TextBox 313"/>
          <p:cNvSpPr txBox="1"/>
          <p:nvPr/>
        </p:nvSpPr>
        <p:spPr>
          <a:xfrm>
            <a:off x="5107552"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315" name="TextBox 314"/>
          <p:cNvSpPr txBox="1"/>
          <p:nvPr/>
        </p:nvSpPr>
        <p:spPr>
          <a:xfrm>
            <a:off x="5579675" y="446338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316" name="TextBox 315"/>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317" name="TextBox 316"/>
          <p:cNvSpPr txBox="1"/>
          <p:nvPr/>
        </p:nvSpPr>
        <p:spPr>
          <a:xfrm>
            <a:off x="5867418" y="391131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애월읍</a:t>
            </a:r>
          </a:p>
        </p:txBody>
      </p:sp>
      <p:sp>
        <p:nvSpPr>
          <p:cNvPr id="319" name="TextBox 318"/>
          <p:cNvSpPr txBox="1"/>
          <p:nvPr/>
        </p:nvSpPr>
        <p:spPr>
          <a:xfrm>
            <a:off x="6742203"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320" name="TextBox 319"/>
          <p:cNvSpPr txBox="1"/>
          <p:nvPr/>
        </p:nvSpPr>
        <p:spPr>
          <a:xfrm>
            <a:off x="7349661"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321" name="TextBox 320"/>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322" name="TextBox 321"/>
          <p:cNvSpPr txBox="1"/>
          <p:nvPr/>
        </p:nvSpPr>
        <p:spPr>
          <a:xfrm>
            <a:off x="7573461"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324" name="TextBox 323"/>
          <p:cNvSpPr txBox="1"/>
          <p:nvPr/>
        </p:nvSpPr>
        <p:spPr>
          <a:xfrm>
            <a:off x="6810579" y="4502792"/>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326" name="TextBox 325"/>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27" name="TextBox 326"/>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28" name="TextBox 327"/>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29" name="TextBox 328"/>
          <p:cNvSpPr txBox="1"/>
          <p:nvPr/>
        </p:nvSpPr>
        <p:spPr>
          <a:xfrm>
            <a:off x="5491554"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0" name="TextBox 329"/>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1" name="TextBox 330"/>
          <p:cNvSpPr txBox="1"/>
          <p:nvPr/>
        </p:nvSpPr>
        <p:spPr>
          <a:xfrm>
            <a:off x="5861328" y="373020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2" name="TextBox 331"/>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3" name="TextBox 332"/>
          <p:cNvSpPr txBox="1"/>
          <p:nvPr/>
        </p:nvSpPr>
        <p:spPr>
          <a:xfrm>
            <a:off x="6746679" y="34828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4" name="TextBox 333"/>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5" name="TextBox 334"/>
          <p:cNvSpPr txBox="1"/>
          <p:nvPr/>
        </p:nvSpPr>
        <p:spPr>
          <a:xfrm>
            <a:off x="7353546" y="334487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6" name="TextBox 335"/>
          <p:cNvSpPr txBox="1"/>
          <p:nvPr/>
        </p:nvSpPr>
        <p:spPr>
          <a:xfrm>
            <a:off x="7573461" y="40955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7" name="TextBox 336"/>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8" name="TextBox 337"/>
          <p:cNvSpPr txBox="1"/>
          <p:nvPr/>
        </p:nvSpPr>
        <p:spPr>
          <a:xfrm>
            <a:off x="2915848" y="439566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9.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5" name="그룹 4"/>
          <p:cNvGrpSpPr/>
          <p:nvPr/>
        </p:nvGrpSpPr>
        <p:grpSpPr>
          <a:xfrm>
            <a:off x="6855578" y="3900670"/>
            <a:ext cx="947317" cy="788727"/>
            <a:chOff x="6855578" y="4008682"/>
            <a:chExt cx="947317" cy="788727"/>
          </a:xfrm>
        </p:grpSpPr>
        <p:sp>
          <p:nvSpPr>
            <p:cNvPr id="310" name="자유형 309"/>
            <p:cNvSpPr/>
            <p:nvPr/>
          </p:nvSpPr>
          <p:spPr>
            <a:xfrm>
              <a:off x="6855578" y="4008682"/>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23" name="TextBox 322"/>
            <p:cNvSpPr txBox="1"/>
            <p:nvPr/>
          </p:nvSpPr>
          <p:spPr>
            <a:xfrm>
              <a:off x="7034145" y="4219713"/>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표선면</a:t>
              </a:r>
            </a:p>
          </p:txBody>
        </p:sp>
        <p:sp>
          <p:nvSpPr>
            <p:cNvPr id="339" name="TextBox 338"/>
            <p:cNvSpPr txBox="1"/>
            <p:nvPr/>
          </p:nvSpPr>
          <p:spPr>
            <a:xfrm>
              <a:off x="7308102" y="4530440"/>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7.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340" name="TextBox 339"/>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1" name="TextBox 340"/>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2" name="TextBox 341"/>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3" name="TextBox 342"/>
          <p:cNvSpPr txBox="1"/>
          <p:nvPr/>
        </p:nvSpPr>
        <p:spPr>
          <a:xfrm>
            <a:off x="5523413" y="464534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4" name="TextBox 343"/>
          <p:cNvSpPr txBox="1"/>
          <p:nvPr/>
        </p:nvSpPr>
        <p:spPr>
          <a:xfrm>
            <a:off x="5111655" y="47597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5" name="TextBox 344"/>
          <p:cNvSpPr txBox="1"/>
          <p:nvPr/>
        </p:nvSpPr>
        <p:spPr>
          <a:xfrm>
            <a:off x="786591" y="476843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6" name="TextBox 345"/>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7" name="TextBox 346"/>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8" name="TextBox 347"/>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9" name="TextBox 348"/>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09" name="TextBox 108"/>
          <p:cNvSpPr txBox="1"/>
          <p:nvPr/>
        </p:nvSpPr>
        <p:spPr>
          <a:xfrm>
            <a:off x="1925534" y="352019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5.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0" name="TextBox 109"/>
          <p:cNvSpPr txBox="1"/>
          <p:nvPr/>
        </p:nvSpPr>
        <p:spPr>
          <a:xfrm>
            <a:off x="1749907" y="471976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8" name="그룹 7"/>
          <p:cNvGrpSpPr/>
          <p:nvPr/>
        </p:nvGrpSpPr>
        <p:grpSpPr>
          <a:xfrm>
            <a:off x="5882886" y="4188953"/>
            <a:ext cx="930401" cy="776040"/>
            <a:chOff x="5882886" y="4296965"/>
            <a:chExt cx="930401" cy="776040"/>
          </a:xfrm>
        </p:grpSpPr>
        <p:sp>
          <p:nvSpPr>
            <p:cNvPr id="306" name="자유형 305"/>
            <p:cNvSpPr/>
            <p:nvPr/>
          </p:nvSpPr>
          <p:spPr>
            <a:xfrm>
              <a:off x="5882886" y="4296965"/>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7" name="그룹 6"/>
            <p:cNvGrpSpPr/>
            <p:nvPr/>
          </p:nvGrpSpPr>
          <p:grpSpPr>
            <a:xfrm>
              <a:off x="6076739" y="4470456"/>
              <a:ext cx="615984" cy="515951"/>
              <a:chOff x="6076739" y="4470456"/>
              <a:chExt cx="615984" cy="515951"/>
            </a:xfrm>
          </p:grpSpPr>
          <p:sp>
            <p:nvSpPr>
              <p:cNvPr id="325" name="TextBox 324"/>
              <p:cNvSpPr txBox="1"/>
              <p:nvPr/>
            </p:nvSpPr>
            <p:spPr>
              <a:xfrm>
                <a:off x="6076431" y="4470455"/>
                <a:ext cx="616600" cy="33561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1" name="TextBox 110"/>
              <p:cNvSpPr txBox="1"/>
              <p:nvPr/>
            </p:nvSpPr>
            <p:spPr>
              <a:xfrm>
                <a:off x="6095104" y="4836943"/>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sp>
        <p:nvSpPr>
          <p:cNvPr id="120" name="TextBox 119"/>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121" name="TextBox 120"/>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graphicFrame>
        <p:nvGraphicFramePr>
          <p:cNvPr id="122" name="표 121"/>
          <p:cNvGraphicFramePr>
            <a:graphicFrameLocks noGrp="1"/>
          </p:cNvGraphicFramePr>
          <p:nvPr>
            <p:extLst>
              <p:ext uri="{D42A27DB-BD31-4B8C-83A1-F6EECF244321}">
                <p14:modId xmlns:p14="http://schemas.microsoft.com/office/powerpoint/2010/main" val="2378302792"/>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grpSp>
        <p:nvGrpSpPr>
          <p:cNvPr id="3" name="그룹 2"/>
          <p:cNvGrpSpPr/>
          <p:nvPr/>
        </p:nvGrpSpPr>
        <p:grpSpPr>
          <a:xfrm>
            <a:off x="6193020" y="3403046"/>
            <a:ext cx="617448" cy="788022"/>
            <a:chOff x="6193020" y="3511058"/>
            <a:chExt cx="617448" cy="788022"/>
          </a:xfrm>
        </p:grpSpPr>
        <p:sp>
          <p:nvSpPr>
            <p:cNvPr id="305" name="자유형 304"/>
            <p:cNvSpPr/>
            <p:nvPr/>
          </p:nvSpPr>
          <p:spPr>
            <a:xfrm>
              <a:off x="6193020" y="3511058"/>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2" name="그룹 1"/>
            <p:cNvGrpSpPr/>
            <p:nvPr/>
          </p:nvGrpSpPr>
          <p:grpSpPr>
            <a:xfrm>
              <a:off x="6267734" y="3624019"/>
              <a:ext cx="505025" cy="449866"/>
              <a:chOff x="6267734" y="3624019"/>
              <a:chExt cx="505025" cy="449866"/>
            </a:xfrm>
          </p:grpSpPr>
          <p:sp>
            <p:nvSpPr>
              <p:cNvPr id="318" name="TextBox 317"/>
              <p:cNvSpPr txBox="1"/>
              <p:nvPr/>
            </p:nvSpPr>
            <p:spPr>
              <a:xfrm>
                <a:off x="6304505" y="3766108"/>
                <a:ext cx="468488" cy="3051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2" name="TextBox 111"/>
              <p:cNvSpPr txBox="1"/>
              <p:nvPr/>
            </p:nvSpPr>
            <p:spPr>
              <a:xfrm>
                <a:off x="6267500" y="362401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84.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spTree>
    <p:extLst>
      <p:ext uri="{BB962C8B-B14F-4D97-AF65-F5344CB8AC3E}">
        <p14:creationId xmlns:p14="http://schemas.microsoft.com/office/powerpoint/2010/main" val="28816583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49.5</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쇼핑과 소매 업종의 비중이 압도적인 수준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관광 국적별 소비 분석 </a:t>
            </a:r>
            <a:r>
              <a:rPr lang="en-US" altLang="ko-KR"/>
              <a:t>– </a:t>
            </a:r>
            <a:r>
              <a:rPr lang="ko-KR" altLang="en-US"/>
              <a:t>중국인 관광객 </a:t>
            </a:r>
          </a:p>
        </p:txBody>
      </p:sp>
      <p:sp>
        <p:nvSpPr>
          <p:cNvPr id="2" name="텍스트 개체 틀 1"/>
          <p:cNvSpPr>
            <a:spLocks noGrp="1"/>
          </p:cNvSpPr>
          <p:nvPr>
            <p:ph type="body" sz="quarter" idx="12"/>
          </p:nvPr>
        </p:nvSpPr>
        <p:spPr>
          <a:xfrm>
            <a:off x="250828" y="518352"/>
            <a:ext cx="8137599" cy="284693"/>
          </a:xfrm>
        </p:spPr>
        <p:txBody>
          <a:bodyPr/>
          <a:lstStyle/>
          <a:p>
            <a:r>
              <a:rPr lang="en-US" altLang="ko-KR"/>
              <a:t>[</a:t>
            </a:r>
            <a:r>
              <a:rPr lang="ko-KR" altLang="en-US"/>
              <a:t>단체</a:t>
            </a:r>
            <a:r>
              <a:rPr lang="en-US" altLang="ko-KR"/>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195" name="모서리가 둥근 직사각형 194"/>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98" name="모서리가 둥근 직사각형 197"/>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99" name="모서리가 둥근 직사각형 198"/>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200" name="모서리가 둥근 직사각형 199"/>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201" name="모서리가 둥근 직사각형 200"/>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202" name="모서리가 둥근 직사각형 201"/>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203" name="모서리가 둥근 직사각형 202"/>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204" name="모서리가 둥근 직사각형 203"/>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205" name="모서리가 둥근 직사각형 204"/>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206" name="직사각형 205"/>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51.0</a:t>
            </a:r>
            <a:r>
              <a:rPr lang="ko-KR" altLang="en-US" sz="1200">
                <a:solidFill>
                  <a:srgbClr val="000000"/>
                </a:solidFill>
              </a:rPr>
              <a:t>만원</a:t>
            </a:r>
          </a:p>
        </p:txBody>
      </p:sp>
      <p:sp>
        <p:nvSpPr>
          <p:cNvPr id="207" name="직사각형 206"/>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48.0</a:t>
            </a:r>
            <a:r>
              <a:rPr lang="ko-KR" altLang="en-US" sz="1200">
                <a:solidFill>
                  <a:srgbClr val="000000"/>
                </a:solidFill>
              </a:rPr>
              <a:t>만원</a:t>
            </a:r>
          </a:p>
        </p:txBody>
      </p:sp>
      <p:sp>
        <p:nvSpPr>
          <p:cNvPr id="208" name="직사각형 207"/>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52.5</a:t>
            </a:r>
            <a:r>
              <a:rPr lang="ko-KR" altLang="en-US" sz="1200">
                <a:solidFill>
                  <a:srgbClr val="000000"/>
                </a:solidFill>
              </a:rPr>
              <a:t>만원</a:t>
            </a:r>
          </a:p>
        </p:txBody>
      </p:sp>
      <p:sp>
        <p:nvSpPr>
          <p:cNvPr id="209" name="직사각형 208"/>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49.5</a:t>
            </a:r>
            <a:r>
              <a:rPr lang="ko-KR" altLang="en-US" sz="1200">
                <a:solidFill>
                  <a:srgbClr val="000000"/>
                </a:solidFill>
              </a:rPr>
              <a:t>만원</a:t>
            </a:r>
          </a:p>
        </p:txBody>
      </p:sp>
      <p:grpSp>
        <p:nvGrpSpPr>
          <p:cNvPr id="210" name="그룹 209"/>
          <p:cNvGrpSpPr/>
          <p:nvPr/>
        </p:nvGrpSpPr>
        <p:grpSpPr>
          <a:xfrm>
            <a:off x="1909289" y="3443939"/>
            <a:ext cx="781200" cy="2957417"/>
            <a:chOff x="1909289" y="3477639"/>
            <a:chExt cx="781200" cy="2957417"/>
          </a:xfrm>
        </p:grpSpPr>
        <p:sp>
          <p:nvSpPr>
            <p:cNvPr id="211" name="직사각형 21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12" name="직사각형 21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3" name="직사각형 21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4" name="직사각형 21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15" name="직사각형 21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2%</a:t>
              </a:r>
              <a:endParaRPr lang="ko-KR" altLang="en-US" sz="1200">
                <a:solidFill>
                  <a:srgbClr val="000000"/>
                </a:solidFill>
              </a:endParaRPr>
            </a:p>
          </p:txBody>
        </p:sp>
        <p:sp>
          <p:nvSpPr>
            <p:cNvPr id="216" name="직사각형 21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7%</a:t>
              </a:r>
              <a:endParaRPr lang="ko-KR" altLang="en-US" sz="1200">
                <a:solidFill>
                  <a:srgbClr val="000000"/>
                </a:solidFill>
              </a:endParaRPr>
            </a:p>
          </p:txBody>
        </p:sp>
        <p:sp>
          <p:nvSpPr>
            <p:cNvPr id="217" name="직사각형 21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8" name="직사각형 21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0%</a:t>
              </a:r>
              <a:endParaRPr lang="ko-KR" altLang="en-US" sz="1200">
                <a:solidFill>
                  <a:srgbClr val="000000"/>
                </a:solidFill>
              </a:endParaRPr>
            </a:p>
          </p:txBody>
        </p:sp>
      </p:grpSp>
      <p:grpSp>
        <p:nvGrpSpPr>
          <p:cNvPr id="219" name="그룹 218"/>
          <p:cNvGrpSpPr/>
          <p:nvPr/>
        </p:nvGrpSpPr>
        <p:grpSpPr>
          <a:xfrm>
            <a:off x="2774714" y="3443939"/>
            <a:ext cx="781200" cy="2957417"/>
            <a:chOff x="1909289" y="3477639"/>
            <a:chExt cx="781200" cy="2957417"/>
          </a:xfrm>
        </p:grpSpPr>
        <p:sp>
          <p:nvSpPr>
            <p:cNvPr id="220" name="직사각형 21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21" name="직사각형 22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2" name="직사각형 22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3" name="직사각형 22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24" name="직사각형 22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3%</a:t>
              </a:r>
              <a:endParaRPr lang="ko-KR" altLang="en-US" sz="1200">
                <a:solidFill>
                  <a:srgbClr val="000000"/>
                </a:solidFill>
              </a:endParaRPr>
            </a:p>
          </p:txBody>
        </p:sp>
        <p:sp>
          <p:nvSpPr>
            <p:cNvPr id="225" name="직사각형 22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5%</a:t>
              </a:r>
              <a:endParaRPr lang="ko-KR" altLang="en-US" sz="1200">
                <a:solidFill>
                  <a:srgbClr val="000000"/>
                </a:solidFill>
              </a:endParaRPr>
            </a:p>
          </p:txBody>
        </p:sp>
        <p:sp>
          <p:nvSpPr>
            <p:cNvPr id="226" name="직사각형 22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7" name="직사각형 22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1%</a:t>
              </a:r>
              <a:endParaRPr lang="ko-KR" altLang="en-US" sz="1200">
                <a:solidFill>
                  <a:srgbClr val="000000"/>
                </a:solidFill>
              </a:endParaRPr>
            </a:p>
          </p:txBody>
        </p:sp>
      </p:grpSp>
      <p:grpSp>
        <p:nvGrpSpPr>
          <p:cNvPr id="228" name="그룹 227"/>
          <p:cNvGrpSpPr/>
          <p:nvPr/>
        </p:nvGrpSpPr>
        <p:grpSpPr>
          <a:xfrm>
            <a:off x="3640139" y="3443939"/>
            <a:ext cx="781200" cy="2957417"/>
            <a:chOff x="1909289" y="3477639"/>
            <a:chExt cx="781200" cy="2957417"/>
          </a:xfrm>
        </p:grpSpPr>
        <p:sp>
          <p:nvSpPr>
            <p:cNvPr id="229" name="직사각형 22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0" name="직사각형 22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1" name="직사각형 23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2" name="직사각형 23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3" name="직사각형 23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0%</a:t>
              </a:r>
              <a:endParaRPr lang="ko-KR" altLang="en-US" sz="1200">
                <a:solidFill>
                  <a:srgbClr val="000000"/>
                </a:solidFill>
              </a:endParaRPr>
            </a:p>
          </p:txBody>
        </p:sp>
        <p:sp>
          <p:nvSpPr>
            <p:cNvPr id="234" name="직사각형 23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1%</a:t>
              </a:r>
              <a:endParaRPr lang="ko-KR" altLang="en-US" sz="1200">
                <a:solidFill>
                  <a:srgbClr val="000000"/>
                </a:solidFill>
              </a:endParaRPr>
            </a:p>
          </p:txBody>
        </p:sp>
        <p:sp>
          <p:nvSpPr>
            <p:cNvPr id="235" name="직사각형 23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6" name="직사각형 23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grpSp>
      <p:grpSp>
        <p:nvGrpSpPr>
          <p:cNvPr id="237" name="그룹 236"/>
          <p:cNvGrpSpPr/>
          <p:nvPr/>
        </p:nvGrpSpPr>
        <p:grpSpPr>
          <a:xfrm>
            <a:off x="4505564" y="3443939"/>
            <a:ext cx="781200" cy="2957417"/>
            <a:chOff x="1909289" y="3477639"/>
            <a:chExt cx="781200" cy="2957417"/>
          </a:xfrm>
        </p:grpSpPr>
        <p:sp>
          <p:nvSpPr>
            <p:cNvPr id="238" name="직사각형 237"/>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9" name="직사각형 238"/>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0" name="직사각형 239"/>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1" name="직사각형 240"/>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42" name="직사각형 241"/>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7%</a:t>
              </a:r>
              <a:endParaRPr lang="ko-KR" altLang="en-US" sz="1200">
                <a:solidFill>
                  <a:srgbClr val="000000"/>
                </a:solidFill>
              </a:endParaRPr>
            </a:p>
          </p:txBody>
        </p:sp>
        <p:sp>
          <p:nvSpPr>
            <p:cNvPr id="243" name="직사각형 242"/>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6%</a:t>
              </a:r>
              <a:endParaRPr lang="ko-KR" altLang="en-US" sz="1200">
                <a:solidFill>
                  <a:srgbClr val="000000"/>
                </a:solidFill>
              </a:endParaRPr>
            </a:p>
          </p:txBody>
        </p:sp>
        <p:sp>
          <p:nvSpPr>
            <p:cNvPr id="244" name="직사각형 243"/>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5" name="직사각형 244"/>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a:t>
              </a:r>
              <a:endParaRPr lang="ko-KR" altLang="en-US" sz="1200">
                <a:solidFill>
                  <a:srgbClr val="000000"/>
                </a:solidFill>
              </a:endParaRPr>
            </a:p>
          </p:txBody>
        </p:sp>
      </p:grpSp>
      <p:sp>
        <p:nvSpPr>
          <p:cNvPr id="246" name="모서리가 둥근 직사각형 245"/>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247" name="직선 연결선 246"/>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8" name="타원 247"/>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249" name="그룹 248"/>
          <p:cNvGrpSpPr/>
          <p:nvPr/>
        </p:nvGrpSpPr>
        <p:grpSpPr>
          <a:xfrm>
            <a:off x="1909289" y="2459100"/>
            <a:ext cx="782771" cy="108000"/>
            <a:chOff x="1909289" y="2402892"/>
            <a:chExt cx="782771" cy="108000"/>
          </a:xfrm>
        </p:grpSpPr>
        <p:sp>
          <p:nvSpPr>
            <p:cNvPr id="250" name="타원 249"/>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1" name="타원 250"/>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52" name="TextBox 251"/>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3" name="TextBox 252"/>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4" name="타원 253"/>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5" name="타원 254"/>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6" name="타원 255"/>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7" name="타원 256"/>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8" name="TextBox 257"/>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9" name="TextBox 258"/>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60" name="그룹 259"/>
          <p:cNvGrpSpPr/>
          <p:nvPr/>
        </p:nvGrpSpPr>
        <p:grpSpPr>
          <a:xfrm>
            <a:off x="3639689" y="2222764"/>
            <a:ext cx="782771" cy="584643"/>
            <a:chOff x="2774489" y="2160281"/>
            <a:chExt cx="782771" cy="584643"/>
          </a:xfrm>
        </p:grpSpPr>
        <p:sp>
          <p:nvSpPr>
            <p:cNvPr id="261" name="TextBox 260"/>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2" name="TextBox 261"/>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63" name="그룹 262"/>
          <p:cNvGrpSpPr/>
          <p:nvPr/>
        </p:nvGrpSpPr>
        <p:grpSpPr>
          <a:xfrm>
            <a:off x="4504889" y="2222764"/>
            <a:ext cx="782771" cy="584643"/>
            <a:chOff x="2774489" y="2160281"/>
            <a:chExt cx="782771" cy="584643"/>
          </a:xfrm>
        </p:grpSpPr>
        <p:sp>
          <p:nvSpPr>
            <p:cNvPr id="264" name="TextBox 263"/>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5" name="TextBox 264"/>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TextBox 77"/>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79" name="TextBox 78"/>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0" name="TextBox 79"/>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1" name="TextBox 80"/>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2" name="직사각형 81"/>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48.0</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49.5</a:t>
            </a:r>
            <a:r>
              <a:rPr lang="ko-KR" altLang="en-US" sz="1200">
                <a:solidFill>
                  <a:srgbClr val="000000"/>
                </a:solidFill>
              </a:rPr>
              <a:t>만원으로 </a:t>
            </a:r>
            <a:r>
              <a:rPr lang="en-US" altLang="ko-KR" sz="1200">
                <a:solidFill>
                  <a:srgbClr val="000000"/>
                </a:solidFill>
              </a:rPr>
              <a:t>3% </a:t>
            </a:r>
            <a:r>
              <a:rPr lang="ko-KR" altLang="en-US" sz="1200">
                <a:solidFill>
                  <a:srgbClr val="000000"/>
                </a:solidFill>
              </a:rPr>
              <a:t>증가</a:t>
            </a:r>
            <a:endParaRPr lang="en-US" altLang="ko-KR" sz="1200">
              <a:solidFill>
                <a:srgbClr val="000000"/>
              </a:solidFill>
            </a:endParaRPr>
          </a:p>
        </p:txBody>
      </p:sp>
      <p:sp>
        <p:nvSpPr>
          <p:cNvPr id="83" name="직사각형 82"/>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식음료</a:t>
            </a:r>
            <a:r>
              <a:rPr lang="en-US" altLang="ko-KR" sz="1200">
                <a:solidFill>
                  <a:srgbClr val="000000"/>
                </a:solidFill>
              </a:rPr>
              <a:t>, </a:t>
            </a:r>
            <a:r>
              <a:rPr lang="ko-KR" altLang="en-US" sz="1200">
                <a:solidFill>
                  <a:srgbClr val="000000"/>
                </a:solidFill>
              </a:rPr>
              <a:t>숙박</a:t>
            </a:r>
            <a:r>
              <a:rPr lang="en-US" altLang="ko-KR" sz="1200">
                <a:solidFill>
                  <a:srgbClr val="000000"/>
                </a:solidFill>
              </a:rPr>
              <a:t>, </a:t>
            </a:r>
            <a:r>
              <a:rPr lang="ko-KR" altLang="en-US" sz="1200">
                <a:solidFill>
                  <a:srgbClr val="000000"/>
                </a:solidFill>
              </a:rPr>
              <a:t>교통</a:t>
            </a:r>
            <a:r>
              <a:rPr lang="en-US" altLang="ko-KR" sz="1200">
                <a:solidFill>
                  <a:srgbClr val="000000"/>
                </a:solidFill>
              </a:rPr>
              <a:t>, </a:t>
            </a:r>
            <a:r>
              <a:rPr lang="ko-KR" altLang="en-US" sz="1200">
                <a:solidFill>
                  <a:srgbClr val="000000"/>
                </a:solidFill>
              </a:rPr>
              <a:t>문화</a:t>
            </a:r>
            <a:r>
              <a:rPr lang="en-US" altLang="ko-KR" sz="1200">
                <a:solidFill>
                  <a:srgbClr val="000000"/>
                </a:solidFill>
              </a:rPr>
              <a:t>/</a:t>
            </a:r>
            <a:r>
              <a:rPr lang="ko-KR" altLang="en-US" sz="1200">
                <a:solidFill>
                  <a:srgbClr val="000000"/>
                </a:solidFill>
              </a:rPr>
              <a:t>레져</a:t>
            </a:r>
            <a:r>
              <a:rPr lang="en-US" altLang="ko-KR" sz="1200">
                <a:solidFill>
                  <a:srgbClr val="000000"/>
                </a:solidFill>
              </a:rPr>
              <a:t>, </a:t>
            </a:r>
            <a:r>
              <a:rPr lang="ko-KR" altLang="en-US" sz="1200">
                <a:solidFill>
                  <a:srgbClr val="000000"/>
                </a:solidFill>
              </a:rPr>
              <a:t>유흥 업종은 변화가 거의 없음</a:t>
            </a:r>
            <a:endParaRPr lang="en-US" altLang="ko-KR" sz="1200">
              <a:solidFill>
                <a:srgbClr val="000000"/>
              </a:solidFill>
            </a:endParaRPr>
          </a:p>
        </p:txBody>
      </p:sp>
      <p:sp>
        <p:nvSpPr>
          <p:cNvPr id="84" name="직사각형 83"/>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89%</a:t>
            </a:r>
            <a:r>
              <a:rPr lang="ko-KR" altLang="en-US" sz="1200">
                <a:solidFill>
                  <a:srgbClr val="000000"/>
                </a:solidFill>
              </a:rPr>
              <a:t>에서</a:t>
            </a:r>
            <a:r>
              <a:rPr lang="en-US" altLang="ko-KR" sz="1200">
                <a:solidFill>
                  <a:srgbClr val="000000"/>
                </a:solidFill>
              </a:rPr>
              <a:t> 93%</a:t>
            </a:r>
            <a:r>
              <a:rPr lang="ko-KR" altLang="en-US" sz="1200">
                <a:solidFill>
                  <a:srgbClr val="000000"/>
                </a:solidFill>
              </a:rPr>
              <a:t>로 </a:t>
            </a:r>
            <a:r>
              <a:rPr lang="en-US" altLang="ko-KR" sz="1200">
                <a:solidFill>
                  <a:srgbClr val="000000"/>
                </a:solidFill>
              </a:rPr>
              <a:t>4%p </a:t>
            </a:r>
            <a:r>
              <a:rPr lang="ko-KR" altLang="en-US" sz="1200">
                <a:solidFill>
                  <a:srgbClr val="000000"/>
                </a:solidFill>
              </a:rPr>
              <a:t>증가</a:t>
            </a:r>
            <a:endParaRPr lang="en-US" altLang="ko-KR" sz="1200">
              <a:solidFill>
                <a:srgbClr val="000000"/>
              </a:solidFill>
            </a:endParaRPr>
          </a:p>
        </p:txBody>
      </p:sp>
      <p:sp>
        <p:nvSpPr>
          <p:cNvPr id="85" name="직사각형 84"/>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86" name="타원 85"/>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7" name="타원 86"/>
          <p:cNvSpPr/>
          <p:nvPr/>
        </p:nvSpPr>
        <p:spPr>
          <a:xfrm>
            <a:off x="5822615" y="565917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8" name="타원 87"/>
          <p:cNvSpPr/>
          <p:nvPr/>
        </p:nvSpPr>
        <p:spPr>
          <a:xfrm>
            <a:off x="5822615" y="4392171"/>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9" name="타원 88"/>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0" name="직사각형 89"/>
          <p:cNvSpPr/>
          <p:nvPr/>
        </p:nvSpPr>
        <p:spPr>
          <a:xfrm>
            <a:off x="1903851" y="3443939"/>
            <a:ext cx="3384000" cy="1452606"/>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1" name="직사각형 90"/>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2" name="타원 91"/>
          <p:cNvSpPr/>
          <p:nvPr/>
        </p:nvSpPr>
        <p:spPr>
          <a:xfrm>
            <a:off x="1871724" y="485128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nvGrpSpPr>
          <p:cNvPr id="93" name="그룹 92"/>
          <p:cNvGrpSpPr/>
          <p:nvPr/>
        </p:nvGrpSpPr>
        <p:grpSpPr>
          <a:xfrm>
            <a:off x="2231740" y="5222171"/>
            <a:ext cx="2993171" cy="144000"/>
            <a:chOff x="2231740" y="5222171"/>
            <a:chExt cx="2993171" cy="144000"/>
          </a:xfrm>
        </p:grpSpPr>
        <p:sp>
          <p:nvSpPr>
            <p:cNvPr id="94" name="TextBox 93"/>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89%</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5" name="TextBox 94"/>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88%</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6" name="TextBox 95"/>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91%</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7" name="TextBox 96"/>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93%</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grpSp>
      <p:sp>
        <p:nvSpPr>
          <p:cNvPr id="98" name="타원 97"/>
          <p:cNvSpPr/>
          <p:nvPr/>
        </p:nvSpPr>
        <p:spPr>
          <a:xfrm>
            <a:off x="1871724" y="3349040"/>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6" name="직사각형 105"/>
          <p:cNvSpPr/>
          <p:nvPr/>
        </p:nvSpPr>
        <p:spPr>
          <a:xfrm>
            <a:off x="1903851" y="5707080"/>
            <a:ext cx="3384000" cy="323455"/>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108" name="타원 107"/>
          <p:cNvSpPr/>
          <p:nvPr/>
        </p:nvSpPr>
        <p:spPr>
          <a:xfrm>
            <a:off x="1871724" y="562526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3" name="TextBox 102"/>
          <p:cNvSpPr txBox="1"/>
          <p:nvPr/>
        </p:nvSpPr>
        <p:spPr>
          <a:xfrm>
            <a:off x="241125" y="6479851"/>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연평균 건당 이용 금액이 </a:t>
            </a:r>
            <a:r>
              <a:rPr lang="en-US" altLang="ko-KR" sz="1000" spc="-30">
                <a:ln>
                  <a:solidFill>
                    <a:srgbClr val="000000">
                      <a:alpha val="0"/>
                    </a:srgbClr>
                  </a:solidFill>
                </a:ln>
                <a:solidFill>
                  <a:srgbClr val="000000"/>
                </a:solidFill>
              </a:rPr>
              <a:t>1,000</a:t>
            </a:r>
            <a:r>
              <a:rPr lang="ko-KR" altLang="en-US" sz="1000" spc="-30">
                <a:ln>
                  <a:solidFill>
                    <a:srgbClr val="000000">
                      <a:alpha val="0"/>
                    </a:srgbClr>
                  </a:solidFill>
                </a:ln>
                <a:solidFill>
                  <a:srgbClr val="000000"/>
                </a:solidFill>
              </a:rPr>
              <a:t>만원 이상인  가맹점</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문화</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레져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숙박 </a:t>
            </a:r>
            <a:r>
              <a:rPr lang="en-US" altLang="ko-KR" sz="1000" spc="-30">
                <a:ln>
                  <a:solidFill>
                    <a:srgbClr val="000000">
                      <a:alpha val="0"/>
                    </a:srgbClr>
                  </a:solidFill>
                </a:ln>
                <a:solidFill>
                  <a:srgbClr val="000000"/>
                </a:solidFill>
              </a:rPr>
              <a:t>10</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기타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의 데이터는 인당 소비금액 및 소비 비중이 왜곡되어 계산 시 제외  </a:t>
            </a:r>
          </a:p>
        </p:txBody>
      </p:sp>
    </p:spTree>
    <p:extLst>
      <p:ext uri="{BB962C8B-B14F-4D97-AF65-F5344CB8AC3E}">
        <p14:creationId xmlns:p14="http://schemas.microsoft.com/office/powerpoint/2010/main" val="49505282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779912" y="4158224"/>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80052400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smtClean="0"/>
              <a:t>] </a:t>
            </a:r>
            <a:r>
              <a:rPr lang="ko-KR" altLang="en-US" smtClean="0"/>
              <a:t>업종</a:t>
            </a:r>
            <a:r>
              <a:rPr lang="en-US" altLang="ko-KR">
                <a:sym typeface="Wingdings 2"/>
              </a:rPr>
              <a:t></a:t>
            </a:r>
            <a:r>
              <a:rPr lang="ko-KR" altLang="en-US" smtClean="0"/>
              <a:t>지역 </a:t>
            </a:r>
            <a:r>
              <a:rPr lang="en-US" altLang="ko-KR" sz="1800"/>
              <a:t>(’15.9~’16.8</a:t>
            </a:r>
            <a:r>
              <a:rPr lang="ko-KR" altLang="en-US" sz="1800"/>
              <a:t>월</a:t>
            </a:r>
            <a:r>
              <a:rPr lang="en-US" altLang="ko-KR" sz="1800"/>
              <a:t>)</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내국인 관광객의 소비는 제주시 도심 지역을 포함하여</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내국인과 중국인 관광객 대비 조천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원읍 등을 포함한 넓은 지역에서 발생함</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4" name="제목 3"/>
          <p:cNvSpPr>
            <a:spLocks noGrp="1"/>
          </p:cNvSpPr>
          <p:nvPr>
            <p:ph type="title"/>
          </p:nvPr>
        </p:nvSpPr>
        <p:spPr>
          <a:xfrm>
            <a:off x="250825" y="201817"/>
            <a:ext cx="8136880" cy="274859"/>
          </a:xfrm>
        </p:spPr>
        <p:txBody>
          <a:bodyPr/>
          <a:lstStyle/>
          <a:p>
            <a:r>
              <a:rPr lang="ko-KR" altLang="en-US" smtClean="0"/>
              <a:t>      </a:t>
            </a:r>
            <a:r>
              <a:rPr lang="ko-KR" altLang="en-US"/>
              <a:t>관광 국적별 소비 분석 </a:t>
            </a:r>
            <a:r>
              <a:rPr lang="en-US" altLang="ko-KR"/>
              <a:t>– </a:t>
            </a:r>
            <a:r>
              <a:rPr lang="ko-KR" altLang="en-US" smtClean="0"/>
              <a:t>내</a:t>
            </a:r>
            <a:r>
              <a:rPr lang="ko-KR" altLang="en-US"/>
              <a:t>국</a:t>
            </a:r>
            <a:r>
              <a:rPr lang="ko-KR" altLang="en-US" smtClean="0"/>
              <a:t>인 </a:t>
            </a:r>
            <a:r>
              <a:rPr lang="ko-KR" altLang="en-US"/>
              <a:t>관광객 </a:t>
            </a:r>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2</a:t>
            </a:r>
            <a:endParaRPr lang="ko-KR" altLang="en-US" sz="1400" b="1">
              <a:solidFill>
                <a:srgbClr val="FFFFFF"/>
              </a:solidFill>
              <a:latin typeface="Arial" pitchFamily="34" charset="0"/>
              <a:cs typeface="Arial" pitchFamily="34" charset="0"/>
            </a:endParaRPr>
          </a:p>
        </p:txBody>
      </p:sp>
      <p:sp>
        <p:nvSpPr>
          <p:cNvPr id="95" name="자유형 94"/>
          <p:cNvSpPr/>
          <p:nvPr/>
        </p:nvSpPr>
        <p:spPr>
          <a:xfrm>
            <a:off x="3308087" y="3031208"/>
            <a:ext cx="1104337" cy="1548609"/>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9" name="TextBox 98"/>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소비 상위 지역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102" name="자유형 101"/>
          <p:cNvSpPr/>
          <p:nvPr/>
        </p:nvSpPr>
        <p:spPr>
          <a:xfrm>
            <a:off x="2155880" y="4549986"/>
            <a:ext cx="1565514" cy="1367273"/>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3" name="자유형 102"/>
          <p:cNvSpPr/>
          <p:nvPr/>
        </p:nvSpPr>
        <p:spPr>
          <a:xfrm>
            <a:off x="509594" y="3095784"/>
            <a:ext cx="1043120" cy="700402"/>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04" name="자유형 103"/>
          <p:cNvSpPr/>
          <p:nvPr/>
        </p:nvSpPr>
        <p:spPr>
          <a:xfrm>
            <a:off x="6023231" y="3431082"/>
            <a:ext cx="191593" cy="238435"/>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5" name="자유형 104"/>
          <p:cNvSpPr/>
          <p:nvPr/>
        </p:nvSpPr>
        <p:spPr>
          <a:xfrm>
            <a:off x="1064860" y="4230210"/>
            <a:ext cx="94023" cy="80117"/>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6" name="자유형 105"/>
          <p:cNvSpPr/>
          <p:nvPr/>
        </p:nvSpPr>
        <p:spPr>
          <a:xfrm>
            <a:off x="431538" y="5176497"/>
            <a:ext cx="125955" cy="113634"/>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8" name="자유형 107"/>
          <p:cNvSpPr/>
          <p:nvPr/>
        </p:nvSpPr>
        <p:spPr>
          <a:xfrm>
            <a:off x="523787" y="3086471"/>
            <a:ext cx="205786" cy="216081"/>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9" name="자유형 108"/>
          <p:cNvSpPr/>
          <p:nvPr/>
        </p:nvSpPr>
        <p:spPr>
          <a:xfrm>
            <a:off x="757956" y="3267158"/>
            <a:ext cx="409798" cy="357652"/>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0" name="자유형 109"/>
          <p:cNvSpPr/>
          <p:nvPr/>
        </p:nvSpPr>
        <p:spPr>
          <a:xfrm>
            <a:off x="603262" y="4189602"/>
            <a:ext cx="1288644" cy="1055072"/>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1" name="자유형 110"/>
          <p:cNvSpPr/>
          <p:nvPr/>
        </p:nvSpPr>
        <p:spPr>
          <a:xfrm>
            <a:off x="603262" y="4940670"/>
            <a:ext cx="1169431" cy="1251781"/>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2" name="자유형 111"/>
          <p:cNvSpPr/>
          <p:nvPr/>
        </p:nvSpPr>
        <p:spPr>
          <a:xfrm>
            <a:off x="1625094" y="4708197"/>
            <a:ext cx="931003" cy="1126603"/>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3" name="자유형 112"/>
          <p:cNvSpPr/>
          <p:nvPr/>
        </p:nvSpPr>
        <p:spPr>
          <a:xfrm>
            <a:off x="1329899" y="3647163"/>
            <a:ext cx="1209168" cy="1216016"/>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4" name="자유형 113"/>
          <p:cNvSpPr/>
          <p:nvPr/>
        </p:nvSpPr>
        <p:spPr>
          <a:xfrm>
            <a:off x="1976113" y="3408729"/>
            <a:ext cx="1348250" cy="133125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5" name="자유형 114"/>
          <p:cNvSpPr/>
          <p:nvPr/>
        </p:nvSpPr>
        <p:spPr>
          <a:xfrm>
            <a:off x="2676258" y="3165326"/>
            <a:ext cx="1036024" cy="1388385"/>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pattFill prst="wdUpDiag">
            <a:fgClr>
              <a:srgbClr val="F0F8FA"/>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6" name="자유형 115"/>
          <p:cNvSpPr/>
          <p:nvPr/>
        </p:nvSpPr>
        <p:spPr>
          <a:xfrm>
            <a:off x="4265775" y="2916958"/>
            <a:ext cx="1641554" cy="133125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7" name="자유형 116"/>
          <p:cNvSpPr/>
          <p:nvPr/>
        </p:nvSpPr>
        <p:spPr>
          <a:xfrm>
            <a:off x="4774324" y="3445985"/>
            <a:ext cx="1380183" cy="1773357"/>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8" name="자유형 117"/>
          <p:cNvSpPr/>
          <p:nvPr/>
        </p:nvSpPr>
        <p:spPr>
          <a:xfrm>
            <a:off x="3787973" y="4042070"/>
            <a:ext cx="1589517" cy="138962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9" name="자유형 118"/>
          <p:cNvSpPr/>
          <p:nvPr/>
        </p:nvSpPr>
        <p:spPr>
          <a:xfrm>
            <a:off x="3305442" y="4459331"/>
            <a:ext cx="1497267" cy="1370997"/>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0" name="TextBox 119"/>
          <p:cNvSpPr txBox="1"/>
          <p:nvPr/>
        </p:nvSpPr>
        <p:spPr>
          <a:xfrm>
            <a:off x="626679" y="3040212"/>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121" name="TextBox 120"/>
          <p:cNvSpPr txBox="1"/>
          <p:nvPr/>
        </p:nvSpPr>
        <p:spPr>
          <a:xfrm>
            <a:off x="603262" y="4789166"/>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122" name="TextBox 121"/>
          <p:cNvSpPr txBox="1"/>
          <p:nvPr/>
        </p:nvSpPr>
        <p:spPr>
          <a:xfrm>
            <a:off x="854937" y="5353749"/>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123" name="TextBox 122"/>
          <p:cNvSpPr txBox="1"/>
          <p:nvPr/>
        </p:nvSpPr>
        <p:spPr>
          <a:xfrm>
            <a:off x="1334752" y="4067785"/>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124" name="TextBox 123"/>
          <p:cNvSpPr txBox="1"/>
          <p:nvPr/>
        </p:nvSpPr>
        <p:spPr>
          <a:xfrm>
            <a:off x="2058510" y="3673042"/>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애월읍</a:t>
            </a:r>
          </a:p>
        </p:txBody>
      </p:sp>
      <p:sp>
        <p:nvSpPr>
          <p:cNvPr id="125" name="TextBox 124"/>
          <p:cNvSpPr txBox="1"/>
          <p:nvPr/>
        </p:nvSpPr>
        <p:spPr>
          <a:xfrm>
            <a:off x="3653970" y="3321967"/>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조천읍</a:t>
            </a:r>
          </a:p>
        </p:txBody>
      </p:sp>
      <p:sp>
        <p:nvSpPr>
          <p:cNvPr id="126" name="TextBox 125"/>
          <p:cNvSpPr txBox="1"/>
          <p:nvPr/>
        </p:nvSpPr>
        <p:spPr>
          <a:xfrm>
            <a:off x="5698687" y="3221533"/>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127" name="TextBox 126"/>
          <p:cNvSpPr txBox="1"/>
          <p:nvPr/>
        </p:nvSpPr>
        <p:spPr>
          <a:xfrm>
            <a:off x="5035027" y="3987405"/>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성산읍</a:t>
            </a:r>
          </a:p>
        </p:txBody>
      </p:sp>
      <p:sp>
        <p:nvSpPr>
          <p:cNvPr id="129" name="TextBox 128"/>
          <p:cNvSpPr txBox="1"/>
          <p:nvPr/>
        </p:nvSpPr>
        <p:spPr>
          <a:xfrm>
            <a:off x="4529884" y="5038021"/>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표선면</a:t>
            </a:r>
          </a:p>
        </p:txBody>
      </p:sp>
      <p:sp>
        <p:nvSpPr>
          <p:cNvPr id="130" name="TextBox 129"/>
          <p:cNvSpPr txBox="1"/>
          <p:nvPr/>
        </p:nvSpPr>
        <p:spPr>
          <a:xfrm>
            <a:off x="3671900" y="5059124"/>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남원읍</a:t>
            </a:r>
          </a:p>
        </p:txBody>
      </p:sp>
      <p:sp>
        <p:nvSpPr>
          <p:cNvPr id="133" name="자유형 132"/>
          <p:cNvSpPr/>
          <p:nvPr/>
        </p:nvSpPr>
        <p:spPr>
          <a:xfrm>
            <a:off x="3417663" y="5930919"/>
            <a:ext cx="78056" cy="5029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4" name="자유형 133"/>
          <p:cNvSpPr/>
          <p:nvPr/>
        </p:nvSpPr>
        <p:spPr>
          <a:xfrm>
            <a:off x="3156883" y="5998900"/>
            <a:ext cx="86927" cy="64487"/>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5" name="TextBox 134"/>
          <p:cNvSpPr txBox="1"/>
          <p:nvPr/>
        </p:nvSpPr>
        <p:spPr>
          <a:xfrm>
            <a:off x="1583668" y="5082984"/>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안덕면</a:t>
            </a:r>
          </a:p>
        </p:txBody>
      </p:sp>
      <p:sp>
        <p:nvSpPr>
          <p:cNvPr id="136" name="TextBox 135"/>
          <p:cNvSpPr txBox="1"/>
          <p:nvPr/>
        </p:nvSpPr>
        <p:spPr>
          <a:xfrm>
            <a:off x="4480634" y="3368978"/>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137" name="자유형 136"/>
          <p:cNvSpPr/>
          <p:nvPr/>
        </p:nvSpPr>
        <p:spPr>
          <a:xfrm>
            <a:off x="1433038" y="6316841"/>
            <a:ext cx="86927" cy="64487"/>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8" name="타원 137"/>
          <p:cNvSpPr/>
          <p:nvPr/>
        </p:nvSpPr>
        <p:spPr>
          <a:xfrm>
            <a:off x="6840252" y="2451313"/>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08" name="타원 207"/>
          <p:cNvSpPr/>
          <p:nvPr/>
        </p:nvSpPr>
        <p:spPr>
          <a:xfrm>
            <a:off x="6840252" y="2695448"/>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15" name="타원 214"/>
          <p:cNvSpPr/>
          <p:nvPr/>
        </p:nvSpPr>
        <p:spPr>
          <a:xfrm>
            <a:off x="6840252" y="2939583"/>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216" name="타원 215"/>
          <p:cNvSpPr/>
          <p:nvPr/>
        </p:nvSpPr>
        <p:spPr>
          <a:xfrm>
            <a:off x="6840252" y="3183718"/>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17" name="TextBox 216"/>
          <p:cNvSpPr txBox="1"/>
          <p:nvPr/>
        </p:nvSpPr>
        <p:spPr>
          <a:xfrm>
            <a:off x="7075816" y="2430243"/>
            <a:ext cx="1158659" cy="931024"/>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식음료</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숙박</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교통</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문화</a:t>
            </a:r>
            <a:r>
              <a:rPr lang="en-US" altLang="ko-KR" sz="1200">
                <a:solidFill>
                  <a:srgbClr val="000000">
                    <a:lumMod val="65000"/>
                    <a:lumOff val="35000"/>
                  </a:srgbClr>
                </a:solidFill>
                <a:latin typeface="누리 L" panose="02020603020101020101" pitchFamily="18" charset="-127"/>
                <a:ea typeface="누리 L" panose="02020603020101020101" pitchFamily="18" charset="-127"/>
              </a:rPr>
              <a:t>/</a:t>
            </a:r>
            <a:r>
              <a:rPr lang="ko-KR" altLang="en-US" sz="1200">
                <a:solidFill>
                  <a:srgbClr val="000000">
                    <a:lumMod val="65000"/>
                    <a:lumOff val="35000"/>
                  </a:srgbClr>
                </a:solidFill>
                <a:latin typeface="누리 L" panose="02020603020101020101" pitchFamily="18" charset="-127"/>
                <a:ea typeface="누리 L" panose="02020603020101020101" pitchFamily="18" charset="-127"/>
              </a:rPr>
              <a:t>레져</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p:txBody>
      </p:sp>
      <p:grpSp>
        <p:nvGrpSpPr>
          <p:cNvPr id="218" name="그룹 217"/>
          <p:cNvGrpSpPr/>
          <p:nvPr/>
        </p:nvGrpSpPr>
        <p:grpSpPr>
          <a:xfrm>
            <a:off x="7806288" y="2451313"/>
            <a:ext cx="180000" cy="668269"/>
            <a:chOff x="7138217" y="3427853"/>
            <a:chExt cx="180000" cy="668269"/>
          </a:xfrm>
        </p:grpSpPr>
        <p:sp>
          <p:nvSpPr>
            <p:cNvPr id="219" name="타원 218"/>
            <p:cNvSpPr/>
            <p:nvPr/>
          </p:nvSpPr>
          <p:spPr>
            <a:xfrm>
              <a:off x="7138217" y="3427853"/>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220" name="타원 219"/>
            <p:cNvSpPr/>
            <p:nvPr/>
          </p:nvSpPr>
          <p:spPr>
            <a:xfrm>
              <a:off x="7138217" y="3671988"/>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21" name="타원 220"/>
            <p:cNvSpPr/>
            <p:nvPr/>
          </p:nvSpPr>
          <p:spPr>
            <a:xfrm>
              <a:off x="7138217" y="3916122"/>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grpSp>
      <p:sp>
        <p:nvSpPr>
          <p:cNvPr id="222" name="타원 221"/>
          <p:cNvSpPr/>
          <p:nvPr/>
        </p:nvSpPr>
        <p:spPr>
          <a:xfrm>
            <a:off x="1696966" y="5320137"/>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23" name="타원 222"/>
          <p:cNvSpPr/>
          <p:nvPr/>
        </p:nvSpPr>
        <p:spPr>
          <a:xfrm>
            <a:off x="5422926" y="4257723"/>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24" name="타원 223"/>
          <p:cNvSpPr/>
          <p:nvPr/>
        </p:nvSpPr>
        <p:spPr>
          <a:xfrm>
            <a:off x="3338919" y="3601034"/>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225" name="타원 224"/>
          <p:cNvSpPr/>
          <p:nvPr/>
        </p:nvSpPr>
        <p:spPr>
          <a:xfrm>
            <a:off x="2910841" y="3601034"/>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26" name="타원 225"/>
          <p:cNvSpPr/>
          <p:nvPr/>
        </p:nvSpPr>
        <p:spPr>
          <a:xfrm>
            <a:off x="3124880" y="3601034"/>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27" name="타원 226"/>
          <p:cNvSpPr/>
          <p:nvPr/>
        </p:nvSpPr>
        <p:spPr>
          <a:xfrm>
            <a:off x="1934619" y="5320137"/>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28" name="타원 227"/>
          <p:cNvSpPr/>
          <p:nvPr/>
        </p:nvSpPr>
        <p:spPr>
          <a:xfrm>
            <a:off x="3974549" y="5291433"/>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32" name="타원 231"/>
          <p:cNvSpPr/>
          <p:nvPr/>
        </p:nvSpPr>
        <p:spPr>
          <a:xfrm>
            <a:off x="2910841" y="3830516"/>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233" name="타원 232"/>
          <p:cNvSpPr/>
          <p:nvPr/>
        </p:nvSpPr>
        <p:spPr>
          <a:xfrm>
            <a:off x="3124880" y="3830516"/>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34" name="타원 233"/>
          <p:cNvSpPr/>
          <p:nvPr/>
        </p:nvSpPr>
        <p:spPr>
          <a:xfrm>
            <a:off x="3338919" y="3830516"/>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236" name="타원 235"/>
          <p:cNvSpPr/>
          <p:nvPr/>
        </p:nvSpPr>
        <p:spPr>
          <a:xfrm>
            <a:off x="2472147" y="5319945"/>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37" name="타원 236"/>
          <p:cNvSpPr/>
          <p:nvPr/>
        </p:nvSpPr>
        <p:spPr>
          <a:xfrm>
            <a:off x="2691160" y="5319945"/>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38" name="타원 237"/>
          <p:cNvSpPr/>
          <p:nvPr/>
        </p:nvSpPr>
        <p:spPr>
          <a:xfrm>
            <a:off x="3348199" y="5319945"/>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239" name="모서리가 둥근 사각형 설명선 238"/>
          <p:cNvSpPr/>
          <p:nvPr/>
        </p:nvSpPr>
        <p:spPr>
          <a:xfrm>
            <a:off x="1622101" y="2683583"/>
            <a:ext cx="1077691" cy="537950"/>
          </a:xfrm>
          <a:prstGeom prst="wedgeRoundRectCallout">
            <a:avLst>
              <a:gd name="adj1" fmla="val 70461"/>
              <a:gd name="adj2" fmla="val 122242"/>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grpSp>
        <p:nvGrpSpPr>
          <p:cNvPr id="240" name="그룹 239"/>
          <p:cNvGrpSpPr/>
          <p:nvPr/>
        </p:nvGrpSpPr>
        <p:grpSpPr>
          <a:xfrm>
            <a:off x="3846951" y="3574626"/>
            <a:ext cx="399337" cy="180000"/>
            <a:chOff x="3725998" y="3393016"/>
            <a:chExt cx="399337" cy="180000"/>
          </a:xfrm>
        </p:grpSpPr>
        <p:sp>
          <p:nvSpPr>
            <p:cNvPr id="241" name="타원 240"/>
            <p:cNvSpPr/>
            <p:nvPr/>
          </p:nvSpPr>
          <p:spPr>
            <a:xfrm>
              <a:off x="3945335" y="3393016"/>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42" name="타원 241"/>
            <p:cNvSpPr/>
            <p:nvPr/>
          </p:nvSpPr>
          <p:spPr>
            <a:xfrm>
              <a:off x="3725998" y="3393016"/>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grpSp>
      <p:sp>
        <p:nvSpPr>
          <p:cNvPr id="243" name="모서리가 둥근 사각형 설명선 242"/>
          <p:cNvSpPr/>
          <p:nvPr/>
        </p:nvSpPr>
        <p:spPr>
          <a:xfrm>
            <a:off x="2773068" y="2683583"/>
            <a:ext cx="603123" cy="543919"/>
          </a:xfrm>
          <a:prstGeom prst="wedgeRoundRectCallout">
            <a:avLst>
              <a:gd name="adj1" fmla="val 21904"/>
              <a:gd name="adj2" fmla="val 11003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FF0000"/>
                </a:solidFill>
                <a:latin typeface="NOVA Bold"/>
                <a:ea typeface="NOVA Bold"/>
              </a:rPr>
              <a:t>, </a:t>
            </a:r>
          </a:p>
          <a:p>
            <a:pPr algn="ctr">
              <a:lnSpc>
                <a:spcPct val="110000"/>
              </a:lnSpc>
            </a:pPr>
            <a:r>
              <a:rPr lang="ko-KR" altLang="en-US" sz="1200">
                <a:solidFill>
                  <a:srgbClr val="000000"/>
                </a:solidFill>
                <a:latin typeface="NOVA Bold"/>
                <a:ea typeface="NOVA Bold"/>
              </a:rPr>
              <a:t>봉개동</a:t>
            </a:r>
          </a:p>
        </p:txBody>
      </p:sp>
      <p:sp>
        <p:nvSpPr>
          <p:cNvPr id="244" name="모서리가 둥근 사각형 설명선 243"/>
          <p:cNvSpPr/>
          <p:nvPr/>
        </p:nvSpPr>
        <p:spPr>
          <a:xfrm>
            <a:off x="3449466" y="2683583"/>
            <a:ext cx="1077691" cy="537950"/>
          </a:xfrm>
          <a:prstGeom prst="wedgeRoundRectCallout">
            <a:avLst>
              <a:gd name="adj1" fmla="val -45498"/>
              <a:gd name="adj2" fmla="val 11799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연동</a:t>
            </a:r>
            <a:r>
              <a:rPr lang="en-US" altLang="ko-KR" sz="1200">
                <a:solidFill>
                  <a:srgbClr val="000000"/>
                </a:solidFill>
                <a:latin typeface="NOVA Bold"/>
                <a:ea typeface="NOVA Bold"/>
              </a:rPr>
              <a:t>, </a:t>
            </a: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000000"/>
                </a:solidFill>
                <a:latin typeface="NOVA Bold"/>
                <a:ea typeface="NOVA Bold"/>
              </a:rPr>
              <a:t>도두동</a:t>
            </a:r>
          </a:p>
        </p:txBody>
      </p:sp>
      <p:sp>
        <p:nvSpPr>
          <p:cNvPr id="246" name="모서리가 둥근 사각형 설명선 245"/>
          <p:cNvSpPr/>
          <p:nvPr/>
        </p:nvSpPr>
        <p:spPr>
          <a:xfrm>
            <a:off x="3741727" y="3859518"/>
            <a:ext cx="1077691" cy="537950"/>
          </a:xfrm>
          <a:prstGeom prst="wedgeRoundRectCallout">
            <a:avLst>
              <a:gd name="adj1" fmla="val -67251"/>
              <a:gd name="adj2" fmla="val -35238"/>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이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endParaRPr lang="ko-KR" altLang="en-US" sz="1200">
              <a:solidFill>
                <a:srgbClr val="000000"/>
              </a:solidFill>
              <a:latin typeface="NOVA Bold"/>
              <a:ea typeface="NOVA Bold"/>
            </a:endParaRPr>
          </a:p>
        </p:txBody>
      </p:sp>
      <p:sp>
        <p:nvSpPr>
          <p:cNvPr id="247" name="모서리가 둥근 사각형 설명선 246"/>
          <p:cNvSpPr/>
          <p:nvPr/>
        </p:nvSpPr>
        <p:spPr>
          <a:xfrm>
            <a:off x="1485404" y="4323224"/>
            <a:ext cx="1288195" cy="384973"/>
          </a:xfrm>
          <a:prstGeom prst="wedgeRoundRectCallout">
            <a:avLst>
              <a:gd name="adj1" fmla="val 61855"/>
              <a:gd name="adj2" fmla="val -128664"/>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endParaRPr lang="ko-KR" altLang="en-US" sz="1200">
              <a:solidFill>
                <a:srgbClr val="000000"/>
              </a:solidFill>
              <a:latin typeface="NOVA Bold"/>
              <a:ea typeface="NOVA Bold"/>
            </a:endParaRPr>
          </a:p>
        </p:txBody>
      </p:sp>
      <p:sp>
        <p:nvSpPr>
          <p:cNvPr id="248" name="모서리가 둥근 사각형 설명선 247"/>
          <p:cNvSpPr/>
          <p:nvPr/>
        </p:nvSpPr>
        <p:spPr>
          <a:xfrm>
            <a:off x="2933644" y="4449310"/>
            <a:ext cx="971234" cy="537950"/>
          </a:xfrm>
          <a:prstGeom prst="wedgeRoundRectCallout">
            <a:avLst>
              <a:gd name="adj1" fmla="val -21289"/>
              <a:gd name="adj2" fmla="val -12972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일도</a:t>
            </a:r>
            <a:r>
              <a:rPr lang="en-US" altLang="ko-KR" sz="1200">
                <a:solidFill>
                  <a:srgbClr val="000000"/>
                </a:solidFill>
                <a:latin typeface="NOVA Bold"/>
                <a:ea typeface="NOVA Bold"/>
              </a:rPr>
              <a:t>1</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endParaRPr lang="ko-KR" altLang="en-US" sz="1200">
              <a:solidFill>
                <a:srgbClr val="000000"/>
              </a:solidFill>
              <a:latin typeface="NOVA Bold"/>
              <a:ea typeface="NOVA Bold"/>
            </a:endParaRPr>
          </a:p>
        </p:txBody>
      </p:sp>
      <p:sp>
        <p:nvSpPr>
          <p:cNvPr id="249" name="모서리가 둥근 사각형 설명선 248"/>
          <p:cNvSpPr/>
          <p:nvPr/>
        </p:nvSpPr>
        <p:spPr>
          <a:xfrm>
            <a:off x="1485404" y="5535070"/>
            <a:ext cx="603123" cy="304203"/>
          </a:xfrm>
          <a:prstGeom prst="wedgeRoundRectCallout">
            <a:avLst>
              <a:gd name="adj1" fmla="val 107463"/>
              <a:gd name="adj2" fmla="val -7396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예래동</a:t>
            </a:r>
          </a:p>
        </p:txBody>
      </p:sp>
      <p:sp>
        <p:nvSpPr>
          <p:cNvPr id="250" name="모서리가 둥근 사각형 설명선 249"/>
          <p:cNvSpPr/>
          <p:nvPr/>
        </p:nvSpPr>
        <p:spPr>
          <a:xfrm>
            <a:off x="1848036" y="5899710"/>
            <a:ext cx="603123" cy="304203"/>
          </a:xfrm>
          <a:prstGeom prst="wedgeRoundRectCallout">
            <a:avLst>
              <a:gd name="adj1" fmla="val 93435"/>
              <a:gd name="adj2" fmla="val -17784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예래동</a:t>
            </a:r>
          </a:p>
        </p:txBody>
      </p:sp>
      <p:sp>
        <p:nvSpPr>
          <p:cNvPr id="251" name="모서리가 둥근 사각형 설명선 250"/>
          <p:cNvSpPr/>
          <p:nvPr/>
        </p:nvSpPr>
        <p:spPr>
          <a:xfrm>
            <a:off x="3797112" y="5581317"/>
            <a:ext cx="615312" cy="470494"/>
          </a:xfrm>
          <a:prstGeom prst="wedgeRoundRectCallout">
            <a:avLst>
              <a:gd name="adj1" fmla="val -92763"/>
              <a:gd name="adj2" fmla="val -7064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정방동</a:t>
            </a:r>
            <a:r>
              <a:rPr lang="en-US" altLang="ko-KR" sz="1200">
                <a:solidFill>
                  <a:srgbClr val="000000"/>
                </a:solidFill>
                <a:latin typeface="NOVA Bold"/>
                <a:ea typeface="NOVA Bold"/>
              </a:rPr>
              <a:t>, </a:t>
            </a:r>
            <a:r>
              <a:rPr lang="ko-KR" altLang="en-US" sz="1200">
                <a:solidFill>
                  <a:srgbClr val="000000"/>
                </a:solidFill>
                <a:latin typeface="NOVA Bold"/>
                <a:ea typeface="NOVA Bold"/>
              </a:rPr>
              <a:t>중앙동</a:t>
            </a:r>
          </a:p>
        </p:txBody>
      </p:sp>
      <p:sp>
        <p:nvSpPr>
          <p:cNvPr id="252" name="TextBox 251"/>
          <p:cNvSpPr txBox="1"/>
          <p:nvPr/>
        </p:nvSpPr>
        <p:spPr>
          <a:xfrm>
            <a:off x="8018451" y="2430243"/>
            <a:ext cx="726829" cy="68223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쇼핑</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소매</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유흥</a:t>
            </a:r>
          </a:p>
        </p:txBody>
      </p:sp>
      <p:sp>
        <p:nvSpPr>
          <p:cNvPr id="259" name="타원 258"/>
          <p:cNvSpPr/>
          <p:nvPr/>
        </p:nvSpPr>
        <p:spPr>
          <a:xfrm>
            <a:off x="4617133" y="4805993"/>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60" name="타원 259"/>
          <p:cNvSpPr/>
          <p:nvPr/>
        </p:nvSpPr>
        <p:spPr>
          <a:xfrm>
            <a:off x="3129186" y="5319945"/>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61" name="모서리가 둥근 사각형 설명선 260"/>
          <p:cNvSpPr/>
          <p:nvPr/>
        </p:nvSpPr>
        <p:spPr>
          <a:xfrm>
            <a:off x="3136637" y="5888248"/>
            <a:ext cx="603123" cy="304203"/>
          </a:xfrm>
          <a:prstGeom prst="wedgeRoundRectCallout">
            <a:avLst>
              <a:gd name="adj1" fmla="val -29005"/>
              <a:gd name="adj2" fmla="val -15592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중앙동</a:t>
            </a:r>
          </a:p>
        </p:txBody>
      </p:sp>
      <p:sp>
        <p:nvSpPr>
          <p:cNvPr id="262" name="타원 261"/>
          <p:cNvSpPr/>
          <p:nvPr/>
        </p:nvSpPr>
        <p:spPr>
          <a:xfrm>
            <a:off x="5201998" y="4257723"/>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63" name="TextBox 262"/>
          <p:cNvSpPr txBox="1"/>
          <p:nvPr/>
        </p:nvSpPr>
        <p:spPr>
          <a:xfrm>
            <a:off x="2673313" y="3349586"/>
            <a:ext cx="1008214"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제주시 도심</a:t>
            </a:r>
          </a:p>
        </p:txBody>
      </p:sp>
      <p:sp>
        <p:nvSpPr>
          <p:cNvPr id="264" name="TextBox 263"/>
          <p:cNvSpPr txBox="1"/>
          <p:nvPr/>
        </p:nvSpPr>
        <p:spPr>
          <a:xfrm>
            <a:off x="2449860" y="5078734"/>
            <a:ext cx="1139155"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서귀포시 도심</a:t>
            </a:r>
          </a:p>
        </p:txBody>
      </p:sp>
      <p:grpSp>
        <p:nvGrpSpPr>
          <p:cNvPr id="3" name="그룹 2"/>
          <p:cNvGrpSpPr/>
          <p:nvPr/>
        </p:nvGrpSpPr>
        <p:grpSpPr>
          <a:xfrm>
            <a:off x="2096067" y="3938605"/>
            <a:ext cx="614935" cy="180000"/>
            <a:chOff x="2124642" y="3938605"/>
            <a:chExt cx="614935" cy="180000"/>
          </a:xfrm>
        </p:grpSpPr>
        <p:grpSp>
          <p:nvGrpSpPr>
            <p:cNvPr id="229" name="그룹 228"/>
            <p:cNvGrpSpPr/>
            <p:nvPr/>
          </p:nvGrpSpPr>
          <p:grpSpPr>
            <a:xfrm>
              <a:off x="2124642" y="3938605"/>
              <a:ext cx="614935" cy="180000"/>
              <a:chOff x="2089589" y="3725997"/>
              <a:chExt cx="614935" cy="180000"/>
            </a:xfrm>
          </p:grpSpPr>
          <p:sp>
            <p:nvSpPr>
              <p:cNvPr id="230" name="타원 229"/>
              <p:cNvSpPr/>
              <p:nvPr/>
            </p:nvSpPr>
            <p:spPr>
              <a:xfrm>
                <a:off x="2089589" y="3725997"/>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231" name="타원 230"/>
              <p:cNvSpPr/>
              <p:nvPr/>
            </p:nvSpPr>
            <p:spPr>
              <a:xfrm>
                <a:off x="2524524" y="3725997"/>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grpSp>
        <p:sp>
          <p:nvSpPr>
            <p:cNvPr id="94" name="타원 93"/>
            <p:cNvSpPr/>
            <p:nvPr/>
          </p:nvSpPr>
          <p:spPr>
            <a:xfrm>
              <a:off x="2340811" y="3938605"/>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grpSp>
      <p:sp>
        <p:nvSpPr>
          <p:cNvPr id="96" name="타원 95"/>
          <p:cNvSpPr/>
          <p:nvPr/>
        </p:nvSpPr>
        <p:spPr>
          <a:xfrm>
            <a:off x="2910173" y="5319945"/>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97" name="모서리가 둥근 사각형 설명선 96"/>
          <p:cNvSpPr/>
          <p:nvPr/>
        </p:nvSpPr>
        <p:spPr>
          <a:xfrm>
            <a:off x="2497831" y="6031143"/>
            <a:ext cx="615600" cy="471600"/>
          </a:xfrm>
          <a:prstGeom prst="wedgeRoundRectCallout">
            <a:avLst>
              <a:gd name="adj1" fmla="val 33167"/>
              <a:gd name="adj2" fmla="val -156100"/>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중문동</a:t>
            </a:r>
            <a:r>
              <a:rPr lang="en-US" altLang="ko-KR" sz="1200">
                <a:solidFill>
                  <a:srgbClr val="000000"/>
                </a:solidFill>
                <a:latin typeface="NOVA Bold"/>
                <a:ea typeface="NOVA Bold"/>
              </a:rPr>
              <a:t>, </a:t>
            </a:r>
            <a:r>
              <a:rPr lang="ko-KR" altLang="en-US" sz="1200">
                <a:solidFill>
                  <a:srgbClr val="000000"/>
                </a:solidFill>
                <a:latin typeface="NOVA Bold"/>
                <a:ea typeface="NOVA Bold"/>
              </a:rPr>
              <a:t>대륜동</a:t>
            </a:r>
          </a:p>
        </p:txBody>
      </p:sp>
      <p:sp>
        <p:nvSpPr>
          <p:cNvPr id="140" name="TextBox 139"/>
          <p:cNvSpPr txBox="1"/>
          <p:nvPr/>
        </p:nvSpPr>
        <p:spPr>
          <a:xfrm>
            <a:off x="6483041" y="3805779"/>
            <a:ext cx="2268252"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panose="00000800000000000000" pitchFamily="2" charset="-127"/>
                <a:ea typeface="NOVA Bold" panose="00000800000000000000" pitchFamily="2" charset="-127"/>
                <a:cs typeface="Arial Narrow" pitchFamily="34" charset="0"/>
              </a:rPr>
              <a:t>소비 상위 지역 포함 빈도</a:t>
            </a:r>
          </a:p>
        </p:txBody>
      </p:sp>
      <p:sp>
        <p:nvSpPr>
          <p:cNvPr id="141" name="TextBox 140"/>
          <p:cNvSpPr txBox="1"/>
          <p:nvPr/>
        </p:nvSpPr>
        <p:spPr>
          <a:xfrm>
            <a:off x="6583996" y="5932905"/>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남원읍</a:t>
            </a:r>
            <a:r>
              <a:rPr lang="en-US" altLang="ko-KR" sz="1000">
                <a:solidFill>
                  <a:srgbClr val="000000"/>
                </a:solidFill>
                <a:cs typeface="Arial Narrow" pitchFamily="34" charset="0"/>
              </a:rPr>
              <a:t>, </a:t>
            </a:r>
            <a:r>
              <a:rPr lang="ko-KR" altLang="en-US" sz="1000">
                <a:solidFill>
                  <a:srgbClr val="000000"/>
                </a:solidFill>
                <a:cs typeface="Arial Narrow" pitchFamily="34" charset="0"/>
              </a:rPr>
              <a:t>봉개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대륜동</a:t>
            </a:r>
            <a:r>
              <a:rPr lang="en-US" altLang="ko-KR" sz="1000">
                <a:solidFill>
                  <a:srgbClr val="000000"/>
                </a:solidFill>
                <a:cs typeface="Arial Narrow" pitchFamily="34" charset="0"/>
              </a:rPr>
              <a:t>,</a:t>
            </a:r>
          </a:p>
          <a:p>
            <a:pPr algn="ctr">
              <a:buClr>
                <a:srgbClr val="000000"/>
              </a:buClr>
              <a:buSzTx/>
            </a:pPr>
            <a:r>
              <a:rPr lang="ko-KR" altLang="en-US" sz="1000">
                <a:solidFill>
                  <a:srgbClr val="000000"/>
                </a:solidFill>
                <a:cs typeface="Arial Narrow" pitchFamily="34" charset="0"/>
              </a:rPr>
              <a:t>도두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문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이도</a:t>
            </a:r>
            <a:r>
              <a:rPr lang="en-US" altLang="ko-KR" sz="1000">
                <a:solidFill>
                  <a:srgbClr val="000000"/>
                </a:solidFill>
                <a:cs typeface="Arial Narrow" pitchFamily="34" charset="0"/>
              </a:rPr>
              <a:t>2</a:t>
            </a:r>
            <a:r>
              <a:rPr lang="ko-KR" altLang="en-US" sz="1000">
                <a:solidFill>
                  <a:srgbClr val="000000"/>
                </a:solidFill>
                <a:cs typeface="Arial Narrow" pitchFamily="34" charset="0"/>
              </a:rPr>
              <a:t>동</a:t>
            </a:r>
            <a:r>
              <a:rPr lang="en-US" altLang="ko-KR" sz="1000">
                <a:solidFill>
                  <a:srgbClr val="000000"/>
                </a:solidFill>
                <a:cs typeface="Arial Narrow" pitchFamily="34" charset="0"/>
              </a:rPr>
              <a:t>,</a:t>
            </a:r>
          </a:p>
          <a:p>
            <a:pPr algn="ctr">
              <a:buClr>
                <a:srgbClr val="000000"/>
              </a:buClr>
              <a:buSzTx/>
            </a:pPr>
            <a:r>
              <a:rPr lang="ko-KR" altLang="en-US" sz="1000">
                <a:solidFill>
                  <a:srgbClr val="000000"/>
                </a:solidFill>
                <a:cs typeface="Arial Narrow" pitchFamily="34" charset="0"/>
              </a:rPr>
              <a:t>표선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일도</a:t>
            </a:r>
            <a:r>
              <a:rPr lang="en-US" altLang="ko-KR" sz="1000">
                <a:solidFill>
                  <a:srgbClr val="000000"/>
                </a:solidFill>
                <a:cs typeface="Arial Narrow" pitchFamily="34" charset="0"/>
              </a:rPr>
              <a:t>1</a:t>
            </a:r>
            <a:r>
              <a:rPr lang="ko-KR" altLang="en-US" sz="1000">
                <a:solidFill>
                  <a:srgbClr val="000000"/>
                </a:solidFill>
                <a:cs typeface="Arial Narrow" pitchFamily="34" charset="0"/>
              </a:rPr>
              <a:t>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정방동</a:t>
            </a:r>
          </a:p>
        </p:txBody>
      </p:sp>
      <p:sp>
        <p:nvSpPr>
          <p:cNvPr id="142" name="직사각형 141"/>
          <p:cNvSpPr/>
          <p:nvPr/>
        </p:nvSpPr>
        <p:spPr>
          <a:xfrm>
            <a:off x="6404024" y="4127413"/>
            <a:ext cx="2549240" cy="864000"/>
          </a:xfrm>
          <a:prstGeom prst="rect">
            <a:avLst/>
          </a:prstGeom>
          <a:pattFill prst="wdUpDiag">
            <a:fgClr>
              <a:schemeClr val="bg1">
                <a:lumMod val="95000"/>
              </a:schemeClr>
            </a:fgClr>
            <a:bgClr>
              <a:schemeClr val="bg1"/>
            </a:bgClr>
          </a:pattFill>
          <a:ln w="28575">
            <a:solidFill>
              <a:srgbClr val="CC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a:solidFill>
                <a:srgbClr val="000000"/>
              </a:solidFill>
            </a:endParaRPr>
          </a:p>
        </p:txBody>
      </p:sp>
      <p:graphicFrame>
        <p:nvGraphicFramePr>
          <p:cNvPr id="143" name="차트 142"/>
          <p:cNvGraphicFramePr/>
          <p:nvPr>
            <p:extLst>
              <p:ext uri="{D42A27DB-BD31-4B8C-83A1-F6EECF244321}">
                <p14:modId xmlns:p14="http://schemas.microsoft.com/office/powerpoint/2010/main" val="2965933675"/>
              </p:ext>
            </p:extLst>
          </p:nvPr>
        </p:nvGraphicFramePr>
        <p:xfrm>
          <a:off x="7407335" y="3806148"/>
          <a:ext cx="1764748" cy="2575180"/>
        </p:xfrm>
        <a:graphic>
          <a:graphicData uri="http://schemas.openxmlformats.org/drawingml/2006/chart">
            <c:chart xmlns:c="http://schemas.openxmlformats.org/drawingml/2006/chart" xmlns:r="http://schemas.openxmlformats.org/officeDocument/2006/relationships" r:id="rId3"/>
          </a:graphicData>
        </a:graphic>
      </p:graphicFrame>
      <p:sp>
        <p:nvSpPr>
          <p:cNvPr id="144" name="TextBox 143"/>
          <p:cNvSpPr txBox="1"/>
          <p:nvPr/>
        </p:nvSpPr>
        <p:spPr>
          <a:xfrm>
            <a:off x="6583996" y="4169997"/>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연동</a:t>
            </a:r>
          </a:p>
        </p:txBody>
      </p:sp>
      <p:sp>
        <p:nvSpPr>
          <p:cNvPr id="145" name="TextBox 144"/>
          <p:cNvSpPr txBox="1"/>
          <p:nvPr/>
        </p:nvSpPr>
        <p:spPr>
          <a:xfrm>
            <a:off x="6583996" y="4602055"/>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노형동</a:t>
            </a:r>
            <a:r>
              <a:rPr lang="en-US" altLang="ko-KR" sz="1200" b="1">
                <a:solidFill>
                  <a:srgbClr val="000000"/>
                </a:solidFill>
                <a:cs typeface="Arial Narrow" pitchFamily="34" charset="0"/>
              </a:rPr>
              <a:t>, </a:t>
            </a:r>
            <a:r>
              <a:rPr lang="ko-KR" altLang="en-US" sz="1200" b="1">
                <a:solidFill>
                  <a:srgbClr val="000000"/>
                </a:solidFill>
                <a:cs typeface="Arial Narrow" pitchFamily="34" charset="0"/>
              </a:rPr>
              <a:t>용담</a:t>
            </a:r>
            <a:r>
              <a:rPr lang="en-US" altLang="ko-KR" sz="1200" b="1">
                <a:solidFill>
                  <a:srgbClr val="000000"/>
                </a:solidFill>
                <a:cs typeface="Arial Narrow" pitchFamily="34" charset="0"/>
              </a:rPr>
              <a:t>2</a:t>
            </a:r>
            <a:r>
              <a:rPr lang="ko-KR" altLang="en-US" sz="1200" b="1">
                <a:solidFill>
                  <a:srgbClr val="000000"/>
                </a:solidFill>
                <a:cs typeface="Arial Narrow" pitchFamily="34" charset="0"/>
              </a:rPr>
              <a:t>동</a:t>
            </a:r>
          </a:p>
        </p:txBody>
      </p:sp>
      <p:sp>
        <p:nvSpPr>
          <p:cNvPr id="146" name="TextBox 145"/>
          <p:cNvSpPr txBox="1"/>
          <p:nvPr/>
        </p:nvSpPr>
        <p:spPr>
          <a:xfrm>
            <a:off x="6583996" y="5034113"/>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애월읍</a:t>
            </a:r>
          </a:p>
        </p:txBody>
      </p:sp>
      <p:sp>
        <p:nvSpPr>
          <p:cNvPr id="147" name="TextBox 146"/>
          <p:cNvSpPr txBox="1"/>
          <p:nvPr/>
        </p:nvSpPr>
        <p:spPr>
          <a:xfrm>
            <a:off x="6583996" y="5437596"/>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조천읍</a:t>
            </a:r>
            <a:r>
              <a:rPr lang="en-US" altLang="ko-KR" sz="1000">
                <a:solidFill>
                  <a:srgbClr val="000000"/>
                </a:solidFill>
                <a:cs typeface="Arial Narrow" pitchFamily="34" charset="0"/>
              </a:rPr>
              <a:t>, </a:t>
            </a:r>
            <a:r>
              <a:rPr lang="ko-KR" altLang="en-US" sz="1000">
                <a:solidFill>
                  <a:srgbClr val="000000"/>
                </a:solidFill>
                <a:cs typeface="Arial Narrow" pitchFamily="34" charset="0"/>
              </a:rPr>
              <a:t>안덕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앙동</a:t>
            </a:r>
            <a:r>
              <a:rPr lang="en-US" altLang="ko-KR" sz="1000">
                <a:solidFill>
                  <a:srgbClr val="000000"/>
                </a:solidFill>
                <a:cs typeface="Arial Narrow" pitchFamily="34" charset="0"/>
              </a:rPr>
              <a:t>,</a:t>
            </a:r>
          </a:p>
          <a:p>
            <a:pPr algn="ctr">
              <a:buClr>
                <a:srgbClr val="000000"/>
              </a:buClr>
              <a:buSzTx/>
            </a:pPr>
            <a:r>
              <a:rPr lang="ko-KR" altLang="en-US" sz="1000">
                <a:solidFill>
                  <a:srgbClr val="000000"/>
                </a:solidFill>
                <a:cs typeface="Arial Narrow" pitchFamily="34" charset="0"/>
              </a:rPr>
              <a:t>성산읍</a:t>
            </a:r>
            <a:r>
              <a:rPr lang="en-US" altLang="ko-KR" sz="1000">
                <a:solidFill>
                  <a:srgbClr val="000000"/>
                </a:solidFill>
                <a:cs typeface="Arial Narrow" pitchFamily="34" charset="0"/>
              </a:rPr>
              <a:t>, </a:t>
            </a:r>
            <a:r>
              <a:rPr lang="ko-KR" altLang="en-US" sz="1000">
                <a:solidFill>
                  <a:srgbClr val="000000"/>
                </a:solidFill>
                <a:cs typeface="Arial Narrow" pitchFamily="34" charset="0"/>
              </a:rPr>
              <a:t>예래동</a:t>
            </a:r>
          </a:p>
        </p:txBody>
      </p:sp>
    </p:spTree>
    <p:extLst>
      <p:ext uri="{BB962C8B-B14F-4D97-AF65-F5344CB8AC3E}">
        <p14:creationId xmlns:p14="http://schemas.microsoft.com/office/powerpoint/2010/main" val="97786870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smtClean="0"/>
              <a:t>] </a:t>
            </a:r>
            <a:r>
              <a:rPr lang="ko-KR" altLang="en-US"/>
              <a:t>업종별 비교</a:t>
            </a:r>
          </a:p>
        </p:txBody>
      </p:sp>
      <p:sp>
        <p:nvSpPr>
          <p:cNvPr id="32" name="직사각형 31"/>
          <p:cNvSpPr/>
          <p:nvPr/>
        </p:nvSpPr>
        <p:spPr>
          <a:xfrm>
            <a:off x="226706" y="1124744"/>
            <a:ext cx="859376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규모와 성장 모두 식음료와 쇼핑</a:t>
            </a:r>
            <a:r>
              <a:rPr lang="en-US" altLang="ko-KR" sz="1600" spc="10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100">
                <a:ln>
                  <a:solidFill>
                    <a:prstClr val="black">
                      <a:alpha val="20000"/>
                    </a:prstClr>
                  </a:solidFill>
                </a:ln>
                <a:solidFill>
                  <a:srgbClr val="000000"/>
                </a:solidFill>
                <a:latin typeface="NOVA Bold"/>
                <a:ea typeface="NOVA Bold"/>
                <a:cs typeface="Arial" pitchFamily="34" charset="0"/>
              </a:rPr>
              <a:t>소매 업종이 타 업종 대비 상대적으로 우위를 차지함</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a:t>
            </a:r>
            <a:r>
              <a:rPr lang="ko-KR" altLang="en-US"/>
              <a:t>국적별 소비 분석 </a:t>
            </a:r>
            <a:r>
              <a:rPr lang="en-US" altLang="ko-KR"/>
              <a:t>– </a:t>
            </a:r>
            <a:r>
              <a:rPr lang="ko-KR" altLang="en-US"/>
              <a:t>내국인 관광객 </a:t>
            </a:r>
          </a:p>
        </p:txBody>
      </p:sp>
      <p:sp>
        <p:nvSpPr>
          <p:cNvPr id="115" name="직사각형 114"/>
          <p:cNvSpPr/>
          <p:nvPr/>
        </p:nvSpPr>
        <p:spPr>
          <a:xfrm>
            <a:off x="387240" y="1628800"/>
            <a:ext cx="8410736" cy="4680520"/>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19" name="TextBox 218"/>
          <p:cNvSpPr txBox="1"/>
          <p:nvPr/>
        </p:nvSpPr>
        <p:spPr>
          <a:xfrm>
            <a:off x="376753" y="6406699"/>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1) </a:t>
            </a:r>
            <a:r>
              <a:rPr lang="ko-KR" altLang="en-US" sz="1000" spc="-30">
                <a:ln>
                  <a:solidFill>
                    <a:srgbClr val="000000">
                      <a:alpha val="0"/>
                    </a:srgbClr>
                  </a:solidFill>
                </a:ln>
                <a:solidFill>
                  <a:srgbClr val="000000"/>
                </a:solidFill>
              </a:rPr>
              <a:t>규모는 </a:t>
            </a:r>
            <a:r>
              <a:rPr lang="en-US" altLang="ko-KR" sz="1000" spc="-30">
                <a:ln>
                  <a:solidFill>
                    <a:srgbClr val="000000">
                      <a:alpha val="0"/>
                    </a:srgbClr>
                  </a:solidFill>
                </a:ln>
                <a:solidFill>
                  <a:srgbClr val="000000"/>
                </a:solidFill>
              </a:rPr>
              <a:t>Y1 (’14.9~’15.8)</a:t>
            </a:r>
            <a:r>
              <a:rPr lang="ko-KR" altLang="en-US" sz="1000" spc="-30">
                <a:ln>
                  <a:solidFill>
                    <a:srgbClr val="000000">
                      <a:alpha val="0"/>
                    </a:srgbClr>
                  </a:solidFill>
                </a:ln>
                <a:solidFill>
                  <a:srgbClr val="000000"/>
                </a:solidFill>
              </a:rPr>
              <a:t>과 </a:t>
            </a:r>
            <a:r>
              <a:rPr lang="en-US" altLang="ko-KR" sz="1000" spc="-30">
                <a:ln>
                  <a:solidFill>
                    <a:srgbClr val="000000">
                      <a:alpha val="0"/>
                    </a:srgbClr>
                  </a:solidFill>
                </a:ln>
                <a:solidFill>
                  <a:srgbClr val="000000"/>
                </a:solidFill>
              </a:rPr>
              <a:t>Y2 (’15.9~’16.8)</a:t>
            </a:r>
            <a:r>
              <a:rPr lang="ko-KR" altLang="en-US" sz="1000" spc="-30">
                <a:ln>
                  <a:solidFill>
                    <a:srgbClr val="000000">
                      <a:alpha val="0"/>
                    </a:srgbClr>
                  </a:solidFill>
                </a:ln>
                <a:solidFill>
                  <a:srgbClr val="000000"/>
                </a:solidFill>
              </a:rPr>
              <a:t>의 합 비교</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2) </a:t>
            </a:r>
            <a:r>
              <a:rPr lang="ko-KR" altLang="en-US" sz="1000" spc="-30">
                <a:ln>
                  <a:solidFill>
                    <a:srgbClr val="000000">
                      <a:alpha val="0"/>
                    </a:srgbClr>
                  </a:solidFill>
                </a:ln>
                <a:solidFill>
                  <a:srgbClr val="000000"/>
                </a:solidFill>
              </a:rPr>
              <a:t>금액</a:t>
            </a:r>
            <a:r>
              <a:rPr lang="ko-KR" altLang="en-US" sz="1000" spc="-30">
                <a:ln>
                  <a:solidFill>
                    <a:srgbClr val="000000">
                      <a:alpha val="0"/>
                    </a:srgbClr>
                  </a:solidFill>
                </a:ln>
                <a:solidFill>
                  <a:srgbClr val="000000"/>
                </a:solidFill>
                <a:sym typeface="Wingdings 2"/>
              </a:rPr>
              <a:t>인원</a:t>
            </a:r>
            <a:r>
              <a:rPr lang="ko-KR" altLang="en-US" sz="1000" spc="-30">
                <a:ln>
                  <a:solidFill>
                    <a:srgbClr val="000000">
                      <a:alpha val="0"/>
                    </a:srgbClr>
                  </a:solidFill>
                </a:ln>
                <a:solidFill>
                  <a:srgbClr val="000000"/>
                </a:solidFill>
              </a:rPr>
              <a:t>건수 성장은 </a:t>
            </a:r>
            <a:r>
              <a:rPr lang="en-US" altLang="ko-KR" sz="1000" spc="-30">
                <a:ln>
                  <a:solidFill>
                    <a:srgbClr val="000000">
                      <a:alpha val="0"/>
                    </a:srgbClr>
                  </a:solidFill>
                </a:ln>
                <a:solidFill>
                  <a:srgbClr val="000000"/>
                </a:solidFill>
              </a:rPr>
              <a:t>Y1 </a:t>
            </a:r>
            <a:r>
              <a:rPr lang="ko-KR" altLang="en-US" sz="1000" spc="-30">
                <a:ln>
                  <a:solidFill>
                    <a:srgbClr val="000000">
                      <a:alpha val="0"/>
                    </a:srgbClr>
                  </a:solidFill>
                </a:ln>
                <a:solidFill>
                  <a:srgbClr val="000000"/>
                </a:solidFill>
              </a:rPr>
              <a:t>대비 </a:t>
            </a:r>
            <a:r>
              <a:rPr lang="en-US" altLang="ko-KR" sz="1000" spc="-30">
                <a:ln>
                  <a:solidFill>
                    <a:srgbClr val="000000">
                      <a:alpha val="0"/>
                    </a:srgbClr>
                  </a:solidFill>
                </a:ln>
                <a:solidFill>
                  <a:srgbClr val="000000"/>
                </a:solidFill>
              </a:rPr>
              <a:t>Y2 , </a:t>
            </a:r>
            <a:r>
              <a:rPr lang="ko-KR" altLang="en-US" sz="1000" spc="-30">
                <a:ln>
                  <a:solidFill>
                    <a:srgbClr val="000000">
                      <a:alpha val="0"/>
                    </a:srgbClr>
                  </a:solidFill>
                </a:ln>
                <a:solidFill>
                  <a:srgbClr val="000000"/>
                </a:solidFill>
              </a:rPr>
              <a:t>인당</a:t>
            </a:r>
            <a:r>
              <a:rPr lang="ko-KR" altLang="en-US" sz="1000" spc="-30">
                <a:ln>
                  <a:solidFill>
                    <a:srgbClr val="000000">
                      <a:alpha val="0"/>
                    </a:srgbClr>
                  </a:solidFill>
                </a:ln>
                <a:solidFill>
                  <a:srgbClr val="000000"/>
                </a:solidFill>
                <a:sym typeface="Wingdings 2"/>
              </a:rPr>
              <a:t></a:t>
            </a:r>
            <a:r>
              <a:rPr lang="ko-KR" altLang="en-US" sz="1000" spc="-30">
                <a:ln>
                  <a:solidFill>
                    <a:srgbClr val="000000">
                      <a:alpha val="0"/>
                    </a:srgbClr>
                  </a:solidFill>
                </a:ln>
                <a:solidFill>
                  <a:srgbClr val="000000"/>
                </a:solidFill>
              </a:rPr>
              <a:t>건당금액 성장은 </a:t>
            </a:r>
            <a:r>
              <a:rPr lang="en-US" altLang="ko-KR" sz="1000" spc="-30">
                <a:ln>
                  <a:solidFill>
                    <a:srgbClr val="000000">
                      <a:alpha val="0"/>
                    </a:srgbClr>
                  </a:solidFill>
                </a:ln>
                <a:solidFill>
                  <a:srgbClr val="000000"/>
                </a:solidFill>
              </a:rPr>
              <a:t>Y1</a:t>
            </a:r>
            <a:r>
              <a:rPr lang="ko-KR" altLang="en-US" sz="1000" spc="-30">
                <a:ln>
                  <a:solidFill>
                    <a:srgbClr val="000000">
                      <a:alpha val="0"/>
                    </a:srgbClr>
                  </a:solidFill>
                </a:ln>
                <a:solidFill>
                  <a:srgbClr val="000000"/>
                </a:solidFill>
              </a:rPr>
              <a:t>과</a:t>
            </a:r>
            <a:r>
              <a:rPr lang="en-US" altLang="ko-KR" sz="1000" spc="-30">
                <a:ln>
                  <a:solidFill>
                    <a:srgbClr val="000000">
                      <a:alpha val="0"/>
                    </a:srgbClr>
                  </a:solidFill>
                </a:ln>
                <a:solidFill>
                  <a:srgbClr val="000000"/>
                </a:solidFill>
              </a:rPr>
              <a:t> Y2 </a:t>
            </a:r>
            <a:r>
              <a:rPr lang="ko-KR" altLang="en-US" sz="1000" spc="-30">
                <a:ln>
                  <a:solidFill>
                    <a:srgbClr val="000000">
                      <a:alpha val="0"/>
                    </a:srgbClr>
                  </a:solidFill>
                </a:ln>
                <a:solidFill>
                  <a:srgbClr val="000000"/>
                </a:solidFill>
              </a:rPr>
              <a:t>각각 마지막 분기 비교 </a:t>
            </a:r>
          </a:p>
        </p:txBody>
      </p:sp>
      <p:sp>
        <p:nvSpPr>
          <p:cNvPr id="538" name="TextBox 537"/>
          <p:cNvSpPr txBox="1"/>
          <p:nvPr/>
        </p:nvSpPr>
        <p:spPr>
          <a:xfrm>
            <a:off x="1292457" y="383578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성장률</a:t>
            </a:r>
          </a:p>
        </p:txBody>
      </p:sp>
      <p:sp>
        <p:nvSpPr>
          <p:cNvPr id="539" name="TextBox 538"/>
          <p:cNvSpPr txBox="1"/>
          <p:nvPr/>
        </p:nvSpPr>
        <p:spPr>
          <a:xfrm>
            <a:off x="1439689" y="180882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규모</a:t>
            </a:r>
          </a:p>
        </p:txBody>
      </p:sp>
      <p:sp>
        <p:nvSpPr>
          <p:cNvPr id="540" name="TextBox 539"/>
          <p:cNvSpPr txBox="1"/>
          <p:nvPr/>
        </p:nvSpPr>
        <p:spPr>
          <a:xfrm>
            <a:off x="2381533"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1" name="TextBox 540"/>
          <p:cNvSpPr txBox="1"/>
          <p:nvPr/>
        </p:nvSpPr>
        <p:spPr>
          <a:xfrm>
            <a:off x="828099"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542" name="TextBox 541"/>
          <p:cNvSpPr txBox="1"/>
          <p:nvPr/>
        </p:nvSpPr>
        <p:spPr>
          <a:xfrm>
            <a:off x="828099"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543" name="TextBox 542"/>
          <p:cNvSpPr txBox="1"/>
          <p:nvPr/>
        </p:nvSpPr>
        <p:spPr>
          <a:xfrm>
            <a:off x="2742868"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4" name="TextBox 543"/>
          <p:cNvSpPr txBox="1"/>
          <p:nvPr/>
        </p:nvSpPr>
        <p:spPr>
          <a:xfrm>
            <a:off x="2381533"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5" name="TextBox 544"/>
          <p:cNvSpPr txBox="1"/>
          <p:nvPr/>
        </p:nvSpPr>
        <p:spPr>
          <a:xfrm>
            <a:off x="463769"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546" name="그룹 545"/>
          <p:cNvGrpSpPr/>
          <p:nvPr/>
        </p:nvGrpSpPr>
        <p:grpSpPr>
          <a:xfrm>
            <a:off x="1051750" y="2081893"/>
            <a:ext cx="1656000" cy="1656000"/>
            <a:chOff x="5769569" y="2828277"/>
            <a:chExt cx="1656000" cy="1656000"/>
          </a:xfrm>
        </p:grpSpPr>
        <p:sp>
          <p:nvSpPr>
            <p:cNvPr id="549" name="타원 548"/>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0" name="타원 549"/>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1" name="타원 550"/>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2" name="타원 551"/>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3" name="타원 552"/>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554" name="직선 연결선 553"/>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5" name="직선 연결선 554"/>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6" name="직선 연결선 555"/>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7" name="직선 연결선 556"/>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8" name="직선 연결선 557"/>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47" name="TextBox 546"/>
          <p:cNvSpPr txBox="1"/>
          <p:nvPr/>
        </p:nvSpPr>
        <p:spPr>
          <a:xfrm>
            <a:off x="2742868"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8" name="TextBox 547"/>
          <p:cNvSpPr txBox="1"/>
          <p:nvPr/>
        </p:nvSpPr>
        <p:spPr>
          <a:xfrm>
            <a:off x="463769"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568" name="그룹 567"/>
          <p:cNvGrpSpPr/>
          <p:nvPr/>
        </p:nvGrpSpPr>
        <p:grpSpPr>
          <a:xfrm>
            <a:off x="3783436" y="2081893"/>
            <a:ext cx="1656000" cy="1656000"/>
            <a:chOff x="5769569" y="2828277"/>
            <a:chExt cx="1656000" cy="1656000"/>
          </a:xfrm>
        </p:grpSpPr>
        <p:sp>
          <p:nvSpPr>
            <p:cNvPr id="571" name="타원 570"/>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2" name="타원 571"/>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3" name="타원 572"/>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4" name="타원 573"/>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5" name="타원 574"/>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576" name="직선 연결선 575"/>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7" name="직선 연결선 576"/>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8" name="직선 연결선 577"/>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9" name="직선 연결선 578"/>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80" name="직선 연결선 579"/>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60" name="TextBox 559"/>
          <p:cNvSpPr txBox="1"/>
          <p:nvPr/>
        </p:nvSpPr>
        <p:spPr>
          <a:xfrm>
            <a:off x="3987199" y="3810526"/>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1" name="TextBox 560"/>
          <p:cNvSpPr txBox="1"/>
          <p:nvPr/>
        </p:nvSpPr>
        <p:spPr>
          <a:xfrm>
            <a:off x="4134431" y="1828799"/>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2" name="TextBox 561"/>
          <p:cNvSpPr txBox="1"/>
          <p:nvPr/>
        </p:nvSpPr>
        <p:spPr>
          <a:xfrm>
            <a:off x="4871864" y="2044823"/>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3" name="TextBox 562"/>
          <p:cNvSpPr txBox="1"/>
          <p:nvPr/>
        </p:nvSpPr>
        <p:spPr>
          <a:xfrm>
            <a:off x="3768042"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64" name="TextBox 563"/>
          <p:cNvSpPr txBox="1"/>
          <p:nvPr/>
        </p:nvSpPr>
        <p:spPr>
          <a:xfrm>
            <a:off x="3768042"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65" name="TextBox 564"/>
          <p:cNvSpPr txBox="1"/>
          <p:nvPr/>
        </p:nvSpPr>
        <p:spPr>
          <a:xfrm>
            <a:off x="5255136"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6" name="TextBox 565"/>
          <p:cNvSpPr txBox="1"/>
          <p:nvPr/>
        </p:nvSpPr>
        <p:spPr>
          <a:xfrm>
            <a:off x="4871864"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67" name="TextBox 566"/>
          <p:cNvSpPr txBox="1"/>
          <p:nvPr/>
        </p:nvSpPr>
        <p:spPr>
          <a:xfrm>
            <a:off x="3400318" y="310536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9" name="TextBox 568"/>
          <p:cNvSpPr txBox="1"/>
          <p:nvPr/>
        </p:nvSpPr>
        <p:spPr>
          <a:xfrm>
            <a:off x="5255136"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70" name="TextBox 569"/>
          <p:cNvSpPr txBox="1"/>
          <p:nvPr/>
        </p:nvSpPr>
        <p:spPr>
          <a:xfrm>
            <a:off x="3400318"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grpSp>
        <p:nvGrpSpPr>
          <p:cNvPr id="590" name="그룹 589"/>
          <p:cNvGrpSpPr/>
          <p:nvPr/>
        </p:nvGrpSpPr>
        <p:grpSpPr>
          <a:xfrm>
            <a:off x="6515122" y="2081893"/>
            <a:ext cx="1656000" cy="1656000"/>
            <a:chOff x="5769569" y="2828277"/>
            <a:chExt cx="1656000" cy="1656000"/>
          </a:xfrm>
        </p:grpSpPr>
        <p:sp>
          <p:nvSpPr>
            <p:cNvPr id="593" name="타원 592"/>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4" name="타원 593"/>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5" name="타원 594"/>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6" name="타원 595"/>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7" name="타원 596"/>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598" name="직선 연결선 597"/>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99" name="직선 연결선 598"/>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0" name="직선 연결선 599"/>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1" name="직선 연결선 600"/>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2" name="직선 연결선 601"/>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660" name="타원 659"/>
          <p:cNvSpPr/>
          <p:nvPr/>
        </p:nvSpPr>
        <p:spPr>
          <a:xfrm>
            <a:off x="1051750"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1" name="타원 660"/>
          <p:cNvSpPr/>
          <p:nvPr/>
        </p:nvSpPr>
        <p:spPr>
          <a:xfrm>
            <a:off x="1213750"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2" name="타원 661"/>
          <p:cNvSpPr/>
          <p:nvPr/>
        </p:nvSpPr>
        <p:spPr>
          <a:xfrm>
            <a:off x="1375750"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3" name="타원 662"/>
          <p:cNvSpPr/>
          <p:nvPr/>
        </p:nvSpPr>
        <p:spPr>
          <a:xfrm>
            <a:off x="1540988"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4" name="타원 663"/>
          <p:cNvSpPr/>
          <p:nvPr/>
        </p:nvSpPr>
        <p:spPr>
          <a:xfrm>
            <a:off x="1717750"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665" name="직선 연결선 664"/>
          <p:cNvCxnSpPr/>
          <p:nvPr/>
        </p:nvCxnSpPr>
        <p:spPr>
          <a:xfrm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6" name="직선 연결선 665"/>
          <p:cNvCxnSpPr/>
          <p:nvPr/>
        </p:nvCxnSpPr>
        <p:spPr>
          <a:xfrm rot="21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7" name="직선 연결선 666"/>
          <p:cNvCxnSpPr/>
          <p:nvPr/>
        </p:nvCxnSpPr>
        <p:spPr>
          <a:xfrm rot="42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8" name="직선 연결선 667"/>
          <p:cNvCxnSpPr/>
          <p:nvPr/>
        </p:nvCxnSpPr>
        <p:spPr>
          <a:xfrm rot="864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9" name="직선 연결선 668"/>
          <p:cNvCxnSpPr/>
          <p:nvPr/>
        </p:nvCxnSpPr>
        <p:spPr>
          <a:xfrm rot="648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636" name="그룹 635"/>
          <p:cNvGrpSpPr/>
          <p:nvPr/>
        </p:nvGrpSpPr>
        <p:grpSpPr>
          <a:xfrm>
            <a:off x="3783436" y="4337580"/>
            <a:ext cx="1656000" cy="1656000"/>
            <a:chOff x="5769569" y="2828277"/>
            <a:chExt cx="1656000" cy="1656000"/>
          </a:xfrm>
        </p:grpSpPr>
        <p:sp>
          <p:nvSpPr>
            <p:cNvPr id="639" name="타원 638"/>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0" name="타원 639"/>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1" name="타원 640"/>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2" name="타원 641"/>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3" name="타원 642"/>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644" name="직선 연결선 643"/>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5" name="직선 연결선 644"/>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6" name="직선 연결선 645"/>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7" name="직선 연결선 646"/>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8" name="직선 연결선 647"/>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618" name="타원 617"/>
          <p:cNvSpPr/>
          <p:nvPr/>
        </p:nvSpPr>
        <p:spPr>
          <a:xfrm>
            <a:off x="6515122"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19" name="타원 618"/>
          <p:cNvSpPr/>
          <p:nvPr/>
        </p:nvSpPr>
        <p:spPr>
          <a:xfrm>
            <a:off x="6677122"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20" name="타원 619"/>
          <p:cNvSpPr/>
          <p:nvPr/>
        </p:nvSpPr>
        <p:spPr>
          <a:xfrm>
            <a:off x="6839122"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21" name="타원 620"/>
          <p:cNvSpPr/>
          <p:nvPr/>
        </p:nvSpPr>
        <p:spPr>
          <a:xfrm>
            <a:off x="7004360"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22" name="타원 621"/>
          <p:cNvSpPr/>
          <p:nvPr/>
        </p:nvSpPr>
        <p:spPr>
          <a:xfrm>
            <a:off x="7181122"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623" name="직선 연결선 622"/>
          <p:cNvCxnSpPr/>
          <p:nvPr/>
        </p:nvCxnSpPr>
        <p:spPr>
          <a:xfrm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4" name="직선 연결선 623"/>
          <p:cNvCxnSpPr/>
          <p:nvPr/>
        </p:nvCxnSpPr>
        <p:spPr>
          <a:xfrm rot="21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5" name="직선 연결선 624"/>
          <p:cNvCxnSpPr/>
          <p:nvPr/>
        </p:nvCxnSpPr>
        <p:spPr>
          <a:xfrm rot="42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6" name="직선 연결선 625"/>
          <p:cNvCxnSpPr/>
          <p:nvPr/>
        </p:nvCxnSpPr>
        <p:spPr>
          <a:xfrm rot="864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7" name="직선 연결선 626"/>
          <p:cNvCxnSpPr/>
          <p:nvPr/>
        </p:nvCxnSpPr>
        <p:spPr>
          <a:xfrm rot="648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670" name="TextBox 669"/>
          <p:cNvSpPr txBox="1"/>
          <p:nvPr/>
        </p:nvSpPr>
        <p:spPr>
          <a:xfrm>
            <a:off x="1691680" y="2693051"/>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1" name="TextBox 670"/>
          <p:cNvSpPr txBox="1"/>
          <p:nvPr/>
        </p:nvSpPr>
        <p:spPr>
          <a:xfrm>
            <a:off x="1691680" y="2529423"/>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2" name="TextBox 671"/>
          <p:cNvSpPr txBox="1"/>
          <p:nvPr/>
        </p:nvSpPr>
        <p:spPr>
          <a:xfrm>
            <a:off x="1691680" y="2038538"/>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1</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3" name="TextBox 672"/>
          <p:cNvSpPr txBox="1"/>
          <p:nvPr/>
        </p:nvSpPr>
        <p:spPr>
          <a:xfrm>
            <a:off x="1691680" y="2202166"/>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2</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4" name="TextBox 673"/>
          <p:cNvSpPr txBox="1"/>
          <p:nvPr/>
        </p:nvSpPr>
        <p:spPr>
          <a:xfrm>
            <a:off x="1691680" y="2365794"/>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5" name="원호 674"/>
          <p:cNvSpPr/>
          <p:nvPr/>
        </p:nvSpPr>
        <p:spPr>
          <a:xfrm>
            <a:off x="1566136" y="2567300"/>
            <a:ext cx="655200" cy="655200"/>
          </a:xfrm>
          <a:prstGeom prst="arc">
            <a:avLst>
              <a:gd name="adj1" fmla="val 16200000"/>
              <a:gd name="adj2" fmla="val 325758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676" name="TextBox 675"/>
          <p:cNvSpPr txBox="1"/>
          <p:nvPr/>
        </p:nvSpPr>
        <p:spPr>
          <a:xfrm>
            <a:off x="2231740" y="2683295"/>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규모</a:t>
            </a:r>
          </a:p>
        </p:txBody>
      </p:sp>
      <p:sp>
        <p:nvSpPr>
          <p:cNvPr id="677" name="TextBox 676"/>
          <p:cNvSpPr txBox="1"/>
          <p:nvPr/>
        </p:nvSpPr>
        <p:spPr>
          <a:xfrm>
            <a:off x="1057150" y="2888940"/>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성장</a:t>
            </a:r>
          </a:p>
        </p:txBody>
      </p:sp>
      <p:sp>
        <p:nvSpPr>
          <p:cNvPr id="678" name="원호 677"/>
          <p:cNvSpPr/>
          <p:nvPr/>
        </p:nvSpPr>
        <p:spPr>
          <a:xfrm>
            <a:off x="1539034" y="2546347"/>
            <a:ext cx="620698" cy="655200"/>
          </a:xfrm>
          <a:prstGeom prst="arc">
            <a:avLst>
              <a:gd name="adj1" fmla="val 4720415"/>
              <a:gd name="adj2" fmla="val 1389646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685" name="TextBox 684"/>
          <p:cNvSpPr txBox="1"/>
          <p:nvPr/>
        </p:nvSpPr>
        <p:spPr>
          <a:xfrm>
            <a:off x="6736100" y="3810526"/>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86" name="TextBox 685"/>
          <p:cNvSpPr txBox="1"/>
          <p:nvPr/>
        </p:nvSpPr>
        <p:spPr>
          <a:xfrm>
            <a:off x="6883332" y="1828799"/>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87" name="TextBox 686"/>
          <p:cNvSpPr txBox="1"/>
          <p:nvPr/>
        </p:nvSpPr>
        <p:spPr>
          <a:xfrm>
            <a:off x="7620765"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88" name="TextBox 687"/>
          <p:cNvSpPr txBox="1"/>
          <p:nvPr/>
        </p:nvSpPr>
        <p:spPr>
          <a:xfrm>
            <a:off x="6516943"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689" name="TextBox 688"/>
          <p:cNvSpPr txBox="1"/>
          <p:nvPr/>
        </p:nvSpPr>
        <p:spPr>
          <a:xfrm>
            <a:off x="6516943"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0" name="TextBox 689"/>
          <p:cNvSpPr txBox="1"/>
          <p:nvPr/>
        </p:nvSpPr>
        <p:spPr>
          <a:xfrm>
            <a:off x="8004037"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1" name="TextBox 690"/>
          <p:cNvSpPr txBox="1"/>
          <p:nvPr/>
        </p:nvSpPr>
        <p:spPr>
          <a:xfrm>
            <a:off x="7620765"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692" name="TextBox 691"/>
          <p:cNvSpPr txBox="1"/>
          <p:nvPr/>
        </p:nvSpPr>
        <p:spPr>
          <a:xfrm>
            <a:off x="6149219"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3" name="TextBox 692"/>
          <p:cNvSpPr txBox="1"/>
          <p:nvPr/>
        </p:nvSpPr>
        <p:spPr>
          <a:xfrm>
            <a:off x="8004037"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4" name="TextBox 693"/>
          <p:cNvSpPr txBox="1"/>
          <p:nvPr/>
        </p:nvSpPr>
        <p:spPr>
          <a:xfrm>
            <a:off x="6149219"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6" name="TextBox 695"/>
          <p:cNvSpPr txBox="1"/>
          <p:nvPr/>
        </p:nvSpPr>
        <p:spPr>
          <a:xfrm>
            <a:off x="6736100"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7" name="TextBox 696"/>
          <p:cNvSpPr txBox="1"/>
          <p:nvPr/>
        </p:nvSpPr>
        <p:spPr>
          <a:xfrm>
            <a:off x="6883332" y="410478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8" name="TextBox 697"/>
          <p:cNvSpPr txBox="1"/>
          <p:nvPr/>
        </p:nvSpPr>
        <p:spPr>
          <a:xfrm>
            <a:off x="7620765"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9" name="TextBox 698"/>
          <p:cNvSpPr txBox="1"/>
          <p:nvPr/>
        </p:nvSpPr>
        <p:spPr>
          <a:xfrm>
            <a:off x="6516943"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00" name="TextBox 699"/>
          <p:cNvSpPr txBox="1"/>
          <p:nvPr/>
        </p:nvSpPr>
        <p:spPr>
          <a:xfrm>
            <a:off x="6516943"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1" name="TextBox 700"/>
          <p:cNvSpPr txBox="1"/>
          <p:nvPr/>
        </p:nvSpPr>
        <p:spPr>
          <a:xfrm>
            <a:off x="8004037"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02" name="TextBox 701"/>
          <p:cNvSpPr txBox="1"/>
          <p:nvPr/>
        </p:nvSpPr>
        <p:spPr>
          <a:xfrm>
            <a:off x="7620765"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3" name="TextBox 702"/>
          <p:cNvSpPr txBox="1"/>
          <p:nvPr/>
        </p:nvSpPr>
        <p:spPr>
          <a:xfrm>
            <a:off x="6149219"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04" name="TextBox 703"/>
          <p:cNvSpPr txBox="1"/>
          <p:nvPr/>
        </p:nvSpPr>
        <p:spPr>
          <a:xfrm>
            <a:off x="8004037"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5" name="TextBox 704"/>
          <p:cNvSpPr txBox="1"/>
          <p:nvPr/>
        </p:nvSpPr>
        <p:spPr>
          <a:xfrm>
            <a:off x="6149219"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7" name="TextBox 706"/>
          <p:cNvSpPr txBox="1"/>
          <p:nvPr/>
        </p:nvSpPr>
        <p:spPr>
          <a:xfrm>
            <a:off x="3987199" y="6086507"/>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8" name="TextBox 707"/>
          <p:cNvSpPr txBox="1"/>
          <p:nvPr/>
        </p:nvSpPr>
        <p:spPr>
          <a:xfrm>
            <a:off x="4134431" y="4104780"/>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9" name="TextBox 708"/>
          <p:cNvSpPr txBox="1"/>
          <p:nvPr/>
        </p:nvSpPr>
        <p:spPr>
          <a:xfrm>
            <a:off x="487186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0" name="TextBox 709"/>
          <p:cNvSpPr txBox="1"/>
          <p:nvPr/>
        </p:nvSpPr>
        <p:spPr>
          <a:xfrm>
            <a:off x="3768042"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1" name="TextBox 710"/>
          <p:cNvSpPr txBox="1"/>
          <p:nvPr/>
        </p:nvSpPr>
        <p:spPr>
          <a:xfrm>
            <a:off x="3768042"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2" name="TextBox 711"/>
          <p:cNvSpPr txBox="1"/>
          <p:nvPr/>
        </p:nvSpPr>
        <p:spPr>
          <a:xfrm>
            <a:off x="5255136"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3" name="TextBox 712"/>
          <p:cNvSpPr txBox="1"/>
          <p:nvPr/>
        </p:nvSpPr>
        <p:spPr>
          <a:xfrm>
            <a:off x="4871864"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4" name="TextBox 713"/>
          <p:cNvSpPr txBox="1"/>
          <p:nvPr/>
        </p:nvSpPr>
        <p:spPr>
          <a:xfrm>
            <a:off x="3400318"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5" name="TextBox 714"/>
          <p:cNvSpPr txBox="1"/>
          <p:nvPr/>
        </p:nvSpPr>
        <p:spPr>
          <a:xfrm>
            <a:off x="5255136"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6" name="TextBox 715"/>
          <p:cNvSpPr txBox="1"/>
          <p:nvPr/>
        </p:nvSpPr>
        <p:spPr>
          <a:xfrm>
            <a:off x="3400318"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8" name="TextBox 717"/>
          <p:cNvSpPr txBox="1"/>
          <p:nvPr/>
        </p:nvSpPr>
        <p:spPr>
          <a:xfrm>
            <a:off x="1287981"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9" name="TextBox 718"/>
          <p:cNvSpPr txBox="1"/>
          <p:nvPr/>
        </p:nvSpPr>
        <p:spPr>
          <a:xfrm>
            <a:off x="1435213" y="410478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0" name="TextBox 719"/>
          <p:cNvSpPr txBox="1"/>
          <p:nvPr/>
        </p:nvSpPr>
        <p:spPr>
          <a:xfrm>
            <a:off x="2172646"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1" name="TextBox 720"/>
          <p:cNvSpPr txBox="1"/>
          <p:nvPr/>
        </p:nvSpPr>
        <p:spPr>
          <a:xfrm>
            <a:off x="1068824"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2" name="TextBox 721"/>
          <p:cNvSpPr txBox="1"/>
          <p:nvPr/>
        </p:nvSpPr>
        <p:spPr>
          <a:xfrm>
            <a:off x="106882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23" name="TextBox 722"/>
          <p:cNvSpPr txBox="1"/>
          <p:nvPr/>
        </p:nvSpPr>
        <p:spPr>
          <a:xfrm>
            <a:off x="2555918"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4" name="TextBox 723"/>
          <p:cNvSpPr txBox="1"/>
          <p:nvPr/>
        </p:nvSpPr>
        <p:spPr>
          <a:xfrm>
            <a:off x="2172646"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5" name="TextBox 724"/>
          <p:cNvSpPr txBox="1"/>
          <p:nvPr/>
        </p:nvSpPr>
        <p:spPr>
          <a:xfrm>
            <a:off x="701100"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6" name="TextBox 725"/>
          <p:cNvSpPr txBox="1"/>
          <p:nvPr/>
        </p:nvSpPr>
        <p:spPr>
          <a:xfrm>
            <a:off x="2555918"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7" name="TextBox 726"/>
          <p:cNvSpPr txBox="1"/>
          <p:nvPr/>
        </p:nvSpPr>
        <p:spPr>
          <a:xfrm>
            <a:off x="701100"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18" name="자유형 17"/>
          <p:cNvSpPr/>
          <p:nvPr/>
        </p:nvSpPr>
        <p:spPr>
          <a:xfrm>
            <a:off x="3977640" y="2240280"/>
            <a:ext cx="1280160" cy="1524000"/>
          </a:xfrm>
          <a:custGeom>
            <a:avLst/>
            <a:gdLst>
              <a:gd name="connsiteX0" fmla="*/ 624840 w 1280160"/>
              <a:gd name="connsiteY0" fmla="*/ 0 h 1524000"/>
              <a:gd name="connsiteX1" fmla="*/ 1028700 w 1280160"/>
              <a:gd name="connsiteY1" fmla="*/ 137160 h 1524000"/>
              <a:gd name="connsiteX2" fmla="*/ 1280160 w 1280160"/>
              <a:gd name="connsiteY2" fmla="*/ 464820 h 1524000"/>
              <a:gd name="connsiteX3" fmla="*/ 967740 w 1280160"/>
              <a:gd name="connsiteY3" fmla="*/ 784860 h 1524000"/>
              <a:gd name="connsiteX4" fmla="*/ 838200 w 1280160"/>
              <a:gd name="connsiteY4" fmla="*/ 937260 h 1524000"/>
              <a:gd name="connsiteX5" fmla="*/ 624840 w 1280160"/>
              <a:gd name="connsiteY5" fmla="*/ 1524000 h 1524000"/>
              <a:gd name="connsiteX6" fmla="*/ 335280 w 1280160"/>
              <a:gd name="connsiteY6" fmla="*/ 1074420 h 1524000"/>
              <a:gd name="connsiteX7" fmla="*/ 15240 w 1280160"/>
              <a:gd name="connsiteY7" fmla="*/ 883920 h 1524000"/>
              <a:gd name="connsiteX8" fmla="*/ 0 w 1280160"/>
              <a:gd name="connsiteY8" fmla="*/ 464820 h 1524000"/>
              <a:gd name="connsiteX9" fmla="*/ 441960 w 1280160"/>
              <a:gd name="connsiteY9" fmla="*/ 411480 h 1524000"/>
              <a:gd name="connsiteX10" fmla="*/ 624840 w 1280160"/>
              <a:gd name="connsiteY10" fmla="*/ 0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0160" h="1524000">
                <a:moveTo>
                  <a:pt x="624840" y="0"/>
                </a:moveTo>
                <a:lnTo>
                  <a:pt x="1028700" y="137160"/>
                </a:lnTo>
                <a:lnTo>
                  <a:pt x="1280160" y="464820"/>
                </a:lnTo>
                <a:lnTo>
                  <a:pt x="967740" y="784860"/>
                </a:lnTo>
                <a:lnTo>
                  <a:pt x="838200" y="937260"/>
                </a:lnTo>
                <a:lnTo>
                  <a:pt x="624840" y="1524000"/>
                </a:lnTo>
                <a:lnTo>
                  <a:pt x="335280" y="1074420"/>
                </a:lnTo>
                <a:lnTo>
                  <a:pt x="15240" y="883920"/>
                </a:lnTo>
                <a:lnTo>
                  <a:pt x="0" y="464820"/>
                </a:lnTo>
                <a:lnTo>
                  <a:pt x="441960" y="411480"/>
                </a:lnTo>
                <a:lnTo>
                  <a:pt x="624840" y="0"/>
                </a:lnTo>
                <a:close/>
              </a:path>
            </a:pathLst>
          </a:custGeom>
          <a:solidFill>
            <a:srgbClr val="FF0000">
              <a:alpha val="30000"/>
            </a:srgbClr>
          </a:solidFill>
          <a:ln w="38100">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19" name="자유형 18"/>
          <p:cNvSpPr/>
          <p:nvPr/>
        </p:nvSpPr>
        <p:spPr>
          <a:xfrm>
            <a:off x="6850380" y="2407920"/>
            <a:ext cx="990600" cy="1188720"/>
          </a:xfrm>
          <a:custGeom>
            <a:avLst/>
            <a:gdLst>
              <a:gd name="connsiteX0" fmla="*/ 495300 w 990600"/>
              <a:gd name="connsiteY0" fmla="*/ 0 h 1188720"/>
              <a:gd name="connsiteX1" fmla="*/ 685800 w 990600"/>
              <a:gd name="connsiteY1" fmla="*/ 251460 h 1188720"/>
              <a:gd name="connsiteX2" fmla="*/ 815340 w 990600"/>
              <a:gd name="connsiteY2" fmla="*/ 396240 h 1188720"/>
              <a:gd name="connsiteX3" fmla="*/ 990600 w 990600"/>
              <a:gd name="connsiteY3" fmla="*/ 662940 h 1188720"/>
              <a:gd name="connsiteX4" fmla="*/ 990600 w 990600"/>
              <a:gd name="connsiteY4" fmla="*/ 1188720 h 1188720"/>
              <a:gd name="connsiteX5" fmla="*/ 495300 w 990600"/>
              <a:gd name="connsiteY5" fmla="*/ 815340 h 1188720"/>
              <a:gd name="connsiteX6" fmla="*/ 0 w 990600"/>
              <a:gd name="connsiteY6" fmla="*/ 1188720 h 1188720"/>
              <a:gd name="connsiteX7" fmla="*/ 22860 w 990600"/>
              <a:gd name="connsiteY7" fmla="*/ 670560 h 1188720"/>
              <a:gd name="connsiteX8" fmla="*/ 182880 w 990600"/>
              <a:gd name="connsiteY8" fmla="*/ 403860 h 1188720"/>
              <a:gd name="connsiteX9" fmla="*/ 190500 w 990600"/>
              <a:gd name="connsiteY9" fmla="*/ 83820 h 1188720"/>
              <a:gd name="connsiteX10" fmla="*/ 495300 w 990600"/>
              <a:gd name="connsiteY10" fmla="*/ 0 h 118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188720">
                <a:moveTo>
                  <a:pt x="495300" y="0"/>
                </a:moveTo>
                <a:lnTo>
                  <a:pt x="685800" y="251460"/>
                </a:lnTo>
                <a:lnTo>
                  <a:pt x="815340" y="396240"/>
                </a:lnTo>
                <a:lnTo>
                  <a:pt x="990600" y="662940"/>
                </a:lnTo>
                <a:lnTo>
                  <a:pt x="990600" y="1188720"/>
                </a:lnTo>
                <a:lnTo>
                  <a:pt x="495300" y="815340"/>
                </a:lnTo>
                <a:lnTo>
                  <a:pt x="0" y="1188720"/>
                </a:lnTo>
                <a:lnTo>
                  <a:pt x="22860" y="670560"/>
                </a:lnTo>
                <a:lnTo>
                  <a:pt x="182880" y="403860"/>
                </a:lnTo>
                <a:lnTo>
                  <a:pt x="190500" y="83820"/>
                </a:lnTo>
                <a:lnTo>
                  <a:pt x="495300" y="0"/>
                </a:lnTo>
                <a:close/>
              </a:path>
            </a:pathLst>
          </a:custGeom>
          <a:solidFill>
            <a:srgbClr val="3333FF">
              <a:alpha val="30000"/>
            </a:srgbClr>
          </a:solidFill>
          <a:ln w="38100">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0" name="자유형 19"/>
          <p:cNvSpPr/>
          <p:nvPr/>
        </p:nvSpPr>
        <p:spPr>
          <a:xfrm>
            <a:off x="6553200" y="4503420"/>
            <a:ext cx="1607820" cy="1219200"/>
          </a:xfrm>
          <a:custGeom>
            <a:avLst/>
            <a:gdLst>
              <a:gd name="connsiteX0" fmla="*/ 777240 w 1607820"/>
              <a:gd name="connsiteY0" fmla="*/ 518160 h 1219200"/>
              <a:gd name="connsiteX1" fmla="*/ 914400 w 1607820"/>
              <a:gd name="connsiteY1" fmla="*/ 533400 h 1219200"/>
              <a:gd name="connsiteX2" fmla="*/ 967740 w 1607820"/>
              <a:gd name="connsiteY2" fmla="*/ 609600 h 1219200"/>
              <a:gd name="connsiteX3" fmla="*/ 1607820 w 1607820"/>
              <a:gd name="connsiteY3" fmla="*/ 922020 h 1219200"/>
              <a:gd name="connsiteX4" fmla="*/ 1203960 w 1607820"/>
              <a:gd name="connsiteY4" fmla="*/ 1219200 h 1219200"/>
              <a:gd name="connsiteX5" fmla="*/ 784860 w 1607820"/>
              <a:gd name="connsiteY5" fmla="*/ 1158240 h 1219200"/>
              <a:gd name="connsiteX6" fmla="*/ 609600 w 1607820"/>
              <a:gd name="connsiteY6" fmla="*/ 944880 h 1219200"/>
              <a:gd name="connsiteX7" fmla="*/ 472440 w 1607820"/>
              <a:gd name="connsiteY7" fmla="*/ 769620 h 1219200"/>
              <a:gd name="connsiteX8" fmla="*/ 0 w 1607820"/>
              <a:gd name="connsiteY8" fmla="*/ 403860 h 1219200"/>
              <a:gd name="connsiteX9" fmla="*/ 304800 w 1607820"/>
              <a:gd name="connsiteY9" fmla="*/ 0 h 1219200"/>
              <a:gd name="connsiteX10" fmla="*/ 777240 w 1607820"/>
              <a:gd name="connsiteY10" fmla="*/ 51816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7820" h="1219200">
                <a:moveTo>
                  <a:pt x="777240" y="518160"/>
                </a:moveTo>
                <a:lnTo>
                  <a:pt x="914400" y="533400"/>
                </a:lnTo>
                <a:lnTo>
                  <a:pt x="967740" y="609600"/>
                </a:lnTo>
                <a:lnTo>
                  <a:pt x="1607820" y="922020"/>
                </a:lnTo>
                <a:lnTo>
                  <a:pt x="1203960" y="1219200"/>
                </a:lnTo>
                <a:lnTo>
                  <a:pt x="784860" y="1158240"/>
                </a:lnTo>
                <a:lnTo>
                  <a:pt x="609600" y="944880"/>
                </a:lnTo>
                <a:lnTo>
                  <a:pt x="472440" y="769620"/>
                </a:lnTo>
                <a:lnTo>
                  <a:pt x="0" y="403860"/>
                </a:lnTo>
                <a:lnTo>
                  <a:pt x="304800" y="0"/>
                </a:lnTo>
                <a:lnTo>
                  <a:pt x="777240" y="518160"/>
                </a:lnTo>
                <a:close/>
              </a:path>
            </a:pathLst>
          </a:custGeom>
          <a:solidFill>
            <a:srgbClr val="92D050">
              <a:alpha val="30000"/>
            </a:srgbClr>
          </a:solidFill>
          <a:ln w="38100">
            <a:solidFill>
              <a:srgbClr val="92D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1" name="자유형 20"/>
          <p:cNvSpPr/>
          <p:nvPr/>
        </p:nvSpPr>
        <p:spPr>
          <a:xfrm>
            <a:off x="3825240" y="4343400"/>
            <a:ext cx="1569720" cy="1501140"/>
          </a:xfrm>
          <a:custGeom>
            <a:avLst/>
            <a:gdLst>
              <a:gd name="connsiteX0" fmla="*/ 784860 w 1569720"/>
              <a:gd name="connsiteY0" fmla="*/ 0 h 1501140"/>
              <a:gd name="connsiteX1" fmla="*/ 1287780 w 1569720"/>
              <a:gd name="connsiteY1" fmla="*/ 167640 h 1501140"/>
              <a:gd name="connsiteX2" fmla="*/ 1569720 w 1569720"/>
              <a:gd name="connsiteY2" fmla="*/ 556260 h 1501140"/>
              <a:gd name="connsiteX3" fmla="*/ 1280160 w 1569720"/>
              <a:gd name="connsiteY3" fmla="*/ 990600 h 1501140"/>
              <a:gd name="connsiteX4" fmla="*/ 883920 w 1569720"/>
              <a:gd name="connsiteY4" fmla="*/ 960120 h 1501140"/>
              <a:gd name="connsiteX5" fmla="*/ 800100 w 1569720"/>
              <a:gd name="connsiteY5" fmla="*/ 1501140 h 1501140"/>
              <a:gd name="connsiteX6" fmla="*/ 403860 w 1569720"/>
              <a:gd name="connsiteY6" fmla="*/ 1363980 h 1501140"/>
              <a:gd name="connsiteX7" fmla="*/ 0 w 1569720"/>
              <a:gd name="connsiteY7" fmla="*/ 1089660 h 1501140"/>
              <a:gd name="connsiteX8" fmla="*/ 609600 w 1569720"/>
              <a:gd name="connsiteY8" fmla="*/ 762000 h 1501140"/>
              <a:gd name="connsiteX9" fmla="*/ 685800 w 1569720"/>
              <a:gd name="connsiteY9" fmla="*/ 678180 h 1501140"/>
              <a:gd name="connsiteX10" fmla="*/ 784860 w 1569720"/>
              <a:gd name="connsiteY10" fmla="*/ 0 h 150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9720" h="1501140">
                <a:moveTo>
                  <a:pt x="784860" y="0"/>
                </a:moveTo>
                <a:lnTo>
                  <a:pt x="1287780" y="167640"/>
                </a:lnTo>
                <a:lnTo>
                  <a:pt x="1569720" y="556260"/>
                </a:lnTo>
                <a:lnTo>
                  <a:pt x="1280160" y="990600"/>
                </a:lnTo>
                <a:lnTo>
                  <a:pt x="883920" y="960120"/>
                </a:lnTo>
                <a:lnTo>
                  <a:pt x="800100" y="1501140"/>
                </a:lnTo>
                <a:lnTo>
                  <a:pt x="403860" y="1363980"/>
                </a:lnTo>
                <a:lnTo>
                  <a:pt x="0" y="1089660"/>
                </a:lnTo>
                <a:lnTo>
                  <a:pt x="609600" y="762000"/>
                </a:lnTo>
                <a:lnTo>
                  <a:pt x="685800" y="678180"/>
                </a:lnTo>
                <a:lnTo>
                  <a:pt x="784860" y="0"/>
                </a:lnTo>
                <a:close/>
              </a:path>
            </a:pathLst>
          </a:custGeom>
          <a:solidFill>
            <a:srgbClr val="FFFF00">
              <a:alpha val="30000"/>
            </a:srgbClr>
          </a:solidFill>
          <a:ln w="38100">
            <a:solidFill>
              <a:srgbClr val="FFF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2" name="자유형 21"/>
          <p:cNvSpPr/>
          <p:nvPr/>
        </p:nvSpPr>
        <p:spPr>
          <a:xfrm>
            <a:off x="1409700" y="4632960"/>
            <a:ext cx="944880" cy="967740"/>
          </a:xfrm>
          <a:custGeom>
            <a:avLst/>
            <a:gdLst>
              <a:gd name="connsiteX0" fmla="*/ 472440 w 944880"/>
              <a:gd name="connsiteY0" fmla="*/ 213360 h 967740"/>
              <a:gd name="connsiteX1" fmla="*/ 777240 w 944880"/>
              <a:gd name="connsiteY1" fmla="*/ 121920 h 967740"/>
              <a:gd name="connsiteX2" fmla="*/ 944880 w 944880"/>
              <a:gd name="connsiteY2" fmla="*/ 381000 h 967740"/>
              <a:gd name="connsiteX3" fmla="*/ 640080 w 944880"/>
              <a:gd name="connsiteY3" fmla="*/ 594360 h 967740"/>
              <a:gd name="connsiteX4" fmla="*/ 769620 w 944880"/>
              <a:gd name="connsiteY4" fmla="*/ 967740 h 967740"/>
              <a:gd name="connsiteX5" fmla="*/ 472440 w 944880"/>
              <a:gd name="connsiteY5" fmla="*/ 693420 h 967740"/>
              <a:gd name="connsiteX6" fmla="*/ 388620 w 944880"/>
              <a:gd name="connsiteY6" fmla="*/ 678180 h 967740"/>
              <a:gd name="connsiteX7" fmla="*/ 327660 w 944880"/>
              <a:gd name="connsiteY7" fmla="*/ 579120 h 967740"/>
              <a:gd name="connsiteX8" fmla="*/ 0 w 944880"/>
              <a:gd name="connsiteY8" fmla="*/ 381000 h 967740"/>
              <a:gd name="connsiteX9" fmla="*/ 68580 w 944880"/>
              <a:gd name="connsiteY9" fmla="*/ 0 h 967740"/>
              <a:gd name="connsiteX10" fmla="*/ 472440 w 944880"/>
              <a:gd name="connsiteY10" fmla="*/ 213360 h 96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4880" h="967740">
                <a:moveTo>
                  <a:pt x="472440" y="213360"/>
                </a:moveTo>
                <a:lnTo>
                  <a:pt x="777240" y="121920"/>
                </a:lnTo>
                <a:lnTo>
                  <a:pt x="944880" y="381000"/>
                </a:lnTo>
                <a:lnTo>
                  <a:pt x="640080" y="594360"/>
                </a:lnTo>
                <a:lnTo>
                  <a:pt x="769620" y="967740"/>
                </a:lnTo>
                <a:lnTo>
                  <a:pt x="472440" y="693420"/>
                </a:lnTo>
                <a:lnTo>
                  <a:pt x="388620" y="678180"/>
                </a:lnTo>
                <a:lnTo>
                  <a:pt x="327660" y="579120"/>
                </a:lnTo>
                <a:lnTo>
                  <a:pt x="0" y="381000"/>
                </a:lnTo>
                <a:lnTo>
                  <a:pt x="68580" y="0"/>
                </a:lnTo>
                <a:lnTo>
                  <a:pt x="472440" y="213360"/>
                </a:lnTo>
                <a:close/>
              </a:path>
            </a:pathLst>
          </a:custGeom>
          <a:solidFill>
            <a:srgbClr val="FFC000">
              <a:alpha val="3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79" name="TextBox 678"/>
          <p:cNvSpPr txBox="1"/>
          <p:nvPr/>
        </p:nvSpPr>
        <p:spPr>
          <a:xfrm>
            <a:off x="6785776"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유흥</a:t>
            </a:r>
          </a:p>
        </p:txBody>
      </p:sp>
      <p:sp>
        <p:nvSpPr>
          <p:cNvPr id="680" name="TextBox 679"/>
          <p:cNvSpPr txBox="1"/>
          <p:nvPr/>
        </p:nvSpPr>
        <p:spPr>
          <a:xfrm>
            <a:off x="4062408"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쇼핑</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sym typeface="Wingdings 2"/>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소매</a:t>
            </a:r>
          </a:p>
        </p:txBody>
      </p:sp>
      <p:sp>
        <p:nvSpPr>
          <p:cNvPr id="681" name="TextBox 680"/>
          <p:cNvSpPr txBox="1"/>
          <p:nvPr/>
        </p:nvSpPr>
        <p:spPr>
          <a:xfrm>
            <a:off x="1322404"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문화</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레져</a:t>
            </a:r>
          </a:p>
        </p:txBody>
      </p:sp>
      <p:sp>
        <p:nvSpPr>
          <p:cNvPr id="682" name="TextBox 681"/>
          <p:cNvSpPr txBox="1"/>
          <p:nvPr/>
        </p:nvSpPr>
        <p:spPr>
          <a:xfrm>
            <a:off x="4062408"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식음료</a:t>
            </a:r>
          </a:p>
        </p:txBody>
      </p:sp>
      <p:sp>
        <p:nvSpPr>
          <p:cNvPr id="683" name="TextBox 682"/>
          <p:cNvSpPr txBox="1"/>
          <p:nvPr/>
        </p:nvSpPr>
        <p:spPr>
          <a:xfrm>
            <a:off x="6785776"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숙박</a:t>
            </a:r>
          </a:p>
        </p:txBody>
      </p:sp>
      <p:sp>
        <p:nvSpPr>
          <p:cNvPr id="151" name="모서리가 둥근 직사각형 15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a:solidFill>
                  <a:srgbClr val="FFFFFF"/>
                </a:solidFill>
                <a:latin typeface="Arial" pitchFamily="34" charset="0"/>
                <a:cs typeface="Arial" pitchFamily="34" charset="0"/>
              </a:rPr>
              <a:t>3</a:t>
            </a:r>
            <a:r>
              <a:rPr lang="en-US" altLang="ko-KR" sz="1400" b="1" smtClean="0">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18799297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40.2%)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1.0%) – </a:t>
            </a:r>
            <a:r>
              <a:rPr lang="ko-KR" altLang="en-US" sz="1600" spc="100">
                <a:ln>
                  <a:solidFill>
                    <a:prstClr val="black">
                      <a:alpha val="20000"/>
                    </a:prstClr>
                  </a:solidFill>
                </a:ln>
                <a:solidFill>
                  <a:srgbClr val="000000"/>
                </a:solidFill>
                <a:latin typeface="NOVA Bold"/>
                <a:ea typeface="NOVA Bold"/>
                <a:cs typeface="Arial" pitchFamily="34" charset="0"/>
              </a:rPr>
              <a:t>애월읍</a:t>
            </a:r>
            <a:r>
              <a:rPr lang="en-US" altLang="ko-KR" sz="1600" spc="100">
                <a:ln>
                  <a:solidFill>
                    <a:prstClr val="black">
                      <a:alpha val="20000"/>
                    </a:prstClr>
                  </a:solidFill>
                </a:ln>
                <a:solidFill>
                  <a:srgbClr val="000000"/>
                </a:solidFill>
                <a:latin typeface="NOVA Bold"/>
                <a:ea typeface="NOVA Bold"/>
                <a:cs typeface="Arial" pitchFamily="34" charset="0"/>
              </a:rPr>
              <a:t> (6.4%)</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40.1%)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0.8%) – </a:t>
            </a:r>
            <a:r>
              <a:rPr lang="ko-KR" altLang="en-US" sz="1600" spc="100">
                <a:ln>
                  <a:solidFill>
                    <a:prstClr val="black">
                      <a:alpha val="20000"/>
                    </a:prstClr>
                  </a:solidFill>
                </a:ln>
                <a:solidFill>
                  <a:srgbClr val="000000"/>
                </a:solidFill>
                <a:latin typeface="NOVA Bold"/>
                <a:ea typeface="NOVA Bold"/>
                <a:cs typeface="Arial" pitchFamily="34" charset="0"/>
              </a:rPr>
              <a:t>애월읍 </a:t>
            </a:r>
            <a:r>
              <a:rPr lang="en-US" altLang="ko-KR" sz="1600" spc="100">
                <a:ln>
                  <a:solidFill>
                    <a:prstClr val="black">
                      <a:alpha val="20000"/>
                    </a:prstClr>
                  </a:solidFill>
                </a:ln>
                <a:solidFill>
                  <a:srgbClr val="000000"/>
                </a:solidFill>
                <a:latin typeface="NOVA Bold"/>
                <a:ea typeface="NOVA Bold"/>
                <a:cs typeface="Arial" pitchFamily="34" charset="0"/>
              </a:rPr>
              <a:t>(6.7%)</a:t>
            </a: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6" name="텍스트 개체 틀 5"/>
          <p:cNvSpPr>
            <a:spLocks noGrp="1"/>
          </p:cNvSpPr>
          <p:nvPr>
            <p:ph type="body" sz="quarter" idx="12"/>
          </p:nvPr>
        </p:nvSpPr>
        <p:spPr>
          <a:xfrm>
            <a:off x="250828" y="518352"/>
            <a:ext cx="8137599" cy="284693"/>
          </a:xfrm>
        </p:spPr>
        <p:txBody>
          <a:bodyPr/>
          <a:lstStyle/>
          <a:p>
            <a:r>
              <a:rPr lang="en-US" altLang="ko-KR" smtClean="0"/>
              <a:t>[</a:t>
            </a:r>
            <a:r>
              <a:rPr lang="ko-KR" altLang="en-US" smtClean="0"/>
              <a:t>개별</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141" name="TextBox 140"/>
          <p:cNvSpPr txBox="1"/>
          <p:nvPr/>
        </p:nvSpPr>
        <p:spPr>
          <a:xfrm>
            <a:off x="4836947" y="5337212"/>
            <a:ext cx="3911517" cy="11208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모든 지역의 카드 이용자 비중 변화가 </a:t>
            </a:r>
            <a:r>
              <a:rPr lang="en-US" altLang="ko-KR" sz="1200">
                <a:solidFill>
                  <a:srgbClr val="000000"/>
                </a:solidFill>
                <a:cs typeface="Arial Narrow" pitchFamily="34" charset="0"/>
              </a:rPr>
              <a:t>±5%p </a:t>
            </a:r>
            <a:r>
              <a:rPr lang="ko-KR" altLang="en-US" sz="1200">
                <a:solidFill>
                  <a:srgbClr val="000000"/>
                </a:solidFill>
                <a:cs typeface="Arial Narrow" pitchFamily="34" charset="0"/>
              </a:rPr>
              <a:t>미만으로 큰 변동은 없음</a:t>
            </a:r>
            <a:endParaRPr lang="en-US" altLang="ko-KR" sz="1200">
              <a:solidFill>
                <a:srgbClr val="000000"/>
              </a:solidFill>
              <a:cs typeface="Arial Narrow" pitchFamily="34" charset="0"/>
            </a:endParaRPr>
          </a:p>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내국인 단체 관광객과 마찬가지로 구좌읍</a:t>
            </a:r>
            <a:r>
              <a:rPr lang="en-US" altLang="ko-KR" sz="1200">
                <a:solidFill>
                  <a:srgbClr val="000000"/>
                </a:solidFill>
                <a:cs typeface="Arial Narrow" pitchFamily="34" charset="0"/>
              </a:rPr>
              <a:t>(+0.4%p),      </a:t>
            </a:r>
            <a:r>
              <a:rPr lang="ko-KR" altLang="en-US" sz="1200">
                <a:solidFill>
                  <a:srgbClr val="000000"/>
                </a:solidFill>
                <a:cs typeface="Arial Narrow" pitchFamily="34" charset="0"/>
              </a:rPr>
              <a:t>애월읍</a:t>
            </a:r>
            <a:r>
              <a:rPr lang="en-US" altLang="ko-KR" sz="1200">
                <a:solidFill>
                  <a:srgbClr val="000000"/>
                </a:solidFill>
                <a:cs typeface="Arial Narrow" pitchFamily="34" charset="0"/>
              </a:rPr>
              <a:t>(+0.4%p), </a:t>
            </a:r>
            <a:r>
              <a:rPr lang="ko-KR" altLang="en-US" sz="1200">
                <a:solidFill>
                  <a:srgbClr val="000000"/>
                </a:solidFill>
                <a:cs typeface="Arial Narrow" pitchFamily="34" charset="0"/>
              </a:rPr>
              <a:t>조천읍</a:t>
            </a:r>
            <a:r>
              <a:rPr lang="en-US" altLang="ko-KR" sz="1200">
                <a:solidFill>
                  <a:srgbClr val="000000"/>
                </a:solidFill>
                <a:cs typeface="Arial Narrow" pitchFamily="34" charset="0"/>
              </a:rPr>
              <a:t>(+0.1%p) </a:t>
            </a:r>
            <a:r>
              <a:rPr lang="ko-KR" altLang="en-US" sz="1200">
                <a:solidFill>
                  <a:srgbClr val="000000"/>
                </a:solidFill>
                <a:cs typeface="Arial Narrow" pitchFamily="34" charset="0"/>
              </a:rPr>
              <a:t>그리고 개별 관광객 특징적으로 안덕면</a:t>
            </a:r>
            <a:r>
              <a:rPr lang="en-US" altLang="ko-KR" sz="1200">
                <a:solidFill>
                  <a:srgbClr val="000000"/>
                </a:solidFill>
                <a:cs typeface="Arial Narrow" pitchFamily="34" charset="0"/>
              </a:rPr>
              <a:t>(+0.4%p)</a:t>
            </a:r>
            <a:r>
              <a:rPr lang="ko-KR" altLang="en-US" sz="1200">
                <a:solidFill>
                  <a:srgbClr val="000000"/>
                </a:solidFill>
                <a:cs typeface="Arial Narrow" pitchFamily="34" charset="0"/>
              </a:rPr>
              <a:t>의 비중이 상승</a:t>
            </a:r>
          </a:p>
        </p:txBody>
      </p:sp>
      <p:sp>
        <p:nvSpPr>
          <p:cNvPr id="87" name="모서리가 둥근 직사각형 86"/>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2</a:t>
            </a:r>
            <a:endParaRPr lang="ko-KR" altLang="en-US" sz="1400" b="1">
              <a:solidFill>
                <a:srgbClr val="FFFFFF"/>
              </a:solidFill>
              <a:latin typeface="Arial" pitchFamily="34" charset="0"/>
              <a:cs typeface="Arial" pitchFamily="34" charset="0"/>
            </a:endParaRPr>
          </a:p>
        </p:txBody>
      </p:sp>
      <p:sp>
        <p:nvSpPr>
          <p:cNvPr id="142"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144" name="자유형 143"/>
          <p:cNvSpPr/>
          <p:nvPr/>
        </p:nvSpPr>
        <p:spPr>
          <a:xfrm>
            <a:off x="534747"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5" name="자유형 144"/>
          <p:cNvSpPr/>
          <p:nvPr/>
        </p:nvSpPr>
        <p:spPr>
          <a:xfrm>
            <a:off x="3820755"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6" name="자유형 145"/>
          <p:cNvSpPr/>
          <p:nvPr/>
        </p:nvSpPr>
        <p:spPr>
          <a:xfrm>
            <a:off x="2356430"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7" name="자유형 146"/>
          <p:cNvSpPr/>
          <p:nvPr/>
        </p:nvSpPr>
        <p:spPr>
          <a:xfrm>
            <a:off x="2252817"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8" name="자유형 147"/>
          <p:cNvSpPr/>
          <p:nvPr/>
        </p:nvSpPr>
        <p:spPr>
          <a:xfrm>
            <a:off x="865674"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9" name="자유형 148"/>
          <p:cNvSpPr/>
          <p:nvPr/>
        </p:nvSpPr>
        <p:spPr>
          <a:xfrm>
            <a:off x="488227"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0" name="자유형 149"/>
          <p:cNvSpPr/>
          <p:nvPr/>
        </p:nvSpPr>
        <p:spPr>
          <a:xfrm>
            <a:off x="543205"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1" name="자유형 150"/>
          <p:cNvSpPr/>
          <p:nvPr/>
        </p:nvSpPr>
        <p:spPr>
          <a:xfrm>
            <a:off x="682765"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2" name="자유형 151"/>
          <p:cNvSpPr/>
          <p:nvPr/>
        </p:nvSpPr>
        <p:spPr>
          <a:xfrm>
            <a:off x="590571"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3" name="자유형 152"/>
          <p:cNvSpPr/>
          <p:nvPr/>
        </p:nvSpPr>
        <p:spPr>
          <a:xfrm>
            <a:off x="590571"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4" name="자유형 153"/>
          <p:cNvSpPr/>
          <p:nvPr/>
        </p:nvSpPr>
        <p:spPr>
          <a:xfrm>
            <a:off x="1199561"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5" name="자유형 154"/>
          <p:cNvSpPr/>
          <p:nvPr/>
        </p:nvSpPr>
        <p:spPr>
          <a:xfrm>
            <a:off x="1023631"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6" name="자유형 155"/>
          <p:cNvSpPr/>
          <p:nvPr/>
        </p:nvSpPr>
        <p:spPr>
          <a:xfrm>
            <a:off x="1408760"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7" name="자유형 156"/>
          <p:cNvSpPr/>
          <p:nvPr/>
        </p:nvSpPr>
        <p:spPr>
          <a:xfrm>
            <a:off x="1826031" y="3403046"/>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8" name="자유형 157"/>
          <p:cNvSpPr/>
          <p:nvPr/>
        </p:nvSpPr>
        <p:spPr>
          <a:xfrm>
            <a:off x="1515897" y="4188953"/>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9" name="자유형 158"/>
          <p:cNvSpPr/>
          <p:nvPr/>
        </p:nvSpPr>
        <p:spPr>
          <a:xfrm>
            <a:off x="2202588"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0" name="자유형 159"/>
          <p:cNvSpPr/>
          <p:nvPr/>
        </p:nvSpPr>
        <p:spPr>
          <a:xfrm>
            <a:off x="2773349"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1" name="자유형 160"/>
          <p:cNvSpPr/>
          <p:nvPr/>
        </p:nvSpPr>
        <p:spPr>
          <a:xfrm>
            <a:off x="3076434"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2" name="자유형 161"/>
          <p:cNvSpPr/>
          <p:nvPr/>
        </p:nvSpPr>
        <p:spPr>
          <a:xfrm>
            <a:off x="2488589"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3" name="자유형 162"/>
          <p:cNvSpPr/>
          <p:nvPr/>
        </p:nvSpPr>
        <p:spPr>
          <a:xfrm>
            <a:off x="2201012"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4" name="TextBox 163"/>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65" name="TextBox 164"/>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66" name="TextBox 165"/>
          <p:cNvSpPr txBox="1"/>
          <p:nvPr/>
        </p:nvSpPr>
        <p:spPr>
          <a:xfrm>
            <a:off x="740563" y="4562656"/>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67" name="TextBox 166"/>
          <p:cNvSpPr txBox="1"/>
          <p:nvPr/>
        </p:nvSpPr>
        <p:spPr>
          <a:xfrm>
            <a:off x="1212686" y="446338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안덕면</a:t>
            </a:r>
          </a:p>
        </p:txBody>
      </p:sp>
      <p:sp>
        <p:nvSpPr>
          <p:cNvPr id="168" name="TextBox 167"/>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한림읍</a:t>
            </a:r>
          </a:p>
        </p:txBody>
      </p:sp>
      <p:sp>
        <p:nvSpPr>
          <p:cNvPr id="169" name="TextBox 168"/>
          <p:cNvSpPr txBox="1"/>
          <p:nvPr/>
        </p:nvSpPr>
        <p:spPr>
          <a:xfrm>
            <a:off x="1500429" y="3911318"/>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170" name="TextBox 169"/>
          <p:cNvSpPr txBox="1"/>
          <p:nvPr/>
        </p:nvSpPr>
        <p:spPr>
          <a:xfrm>
            <a:off x="1937750" y="3670519"/>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71" name="TextBox 170"/>
          <p:cNvSpPr txBox="1"/>
          <p:nvPr/>
        </p:nvSpPr>
        <p:spPr>
          <a:xfrm>
            <a:off x="2375214" y="3671531"/>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조천읍</a:t>
            </a:r>
          </a:p>
        </p:txBody>
      </p:sp>
      <p:sp>
        <p:nvSpPr>
          <p:cNvPr id="172" name="TextBox 171"/>
          <p:cNvSpPr txBox="1"/>
          <p:nvPr/>
        </p:nvSpPr>
        <p:spPr>
          <a:xfrm>
            <a:off x="2982672" y="3536214"/>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구좌읍</a:t>
            </a:r>
          </a:p>
        </p:txBody>
      </p:sp>
      <p:sp>
        <p:nvSpPr>
          <p:cNvPr id="173" name="TextBox 172"/>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74" name="TextBox 173"/>
          <p:cNvSpPr txBox="1"/>
          <p:nvPr/>
        </p:nvSpPr>
        <p:spPr>
          <a:xfrm>
            <a:off x="3206472" y="3861048"/>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성산읍</a:t>
            </a:r>
          </a:p>
        </p:txBody>
      </p:sp>
      <p:sp>
        <p:nvSpPr>
          <p:cNvPr id="175" name="TextBox 174"/>
          <p:cNvSpPr txBox="1"/>
          <p:nvPr/>
        </p:nvSpPr>
        <p:spPr>
          <a:xfrm>
            <a:off x="2667390"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176" name="TextBox 175"/>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77" name="TextBox 176"/>
          <p:cNvSpPr txBox="1"/>
          <p:nvPr/>
        </p:nvSpPr>
        <p:spPr>
          <a:xfrm>
            <a:off x="1730655" y="4365104"/>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79" name="자유형 178"/>
          <p:cNvSpPr/>
          <p:nvPr/>
        </p:nvSpPr>
        <p:spPr>
          <a:xfrm>
            <a:off x="4901736"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0" name="자유형 179"/>
          <p:cNvSpPr/>
          <p:nvPr/>
        </p:nvSpPr>
        <p:spPr>
          <a:xfrm>
            <a:off x="8187744"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1" name="자유형 180"/>
          <p:cNvSpPr/>
          <p:nvPr/>
        </p:nvSpPr>
        <p:spPr>
          <a:xfrm>
            <a:off x="6723419"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2" name="자유형 181"/>
          <p:cNvSpPr/>
          <p:nvPr/>
        </p:nvSpPr>
        <p:spPr>
          <a:xfrm>
            <a:off x="6619806"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3" name="자유형 182"/>
          <p:cNvSpPr/>
          <p:nvPr/>
        </p:nvSpPr>
        <p:spPr>
          <a:xfrm>
            <a:off x="5232663"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4" name="자유형 183"/>
          <p:cNvSpPr/>
          <p:nvPr/>
        </p:nvSpPr>
        <p:spPr>
          <a:xfrm>
            <a:off x="4855216"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5" name="자유형 184"/>
          <p:cNvSpPr/>
          <p:nvPr/>
        </p:nvSpPr>
        <p:spPr>
          <a:xfrm>
            <a:off x="4910194"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6" name="자유형 185"/>
          <p:cNvSpPr/>
          <p:nvPr/>
        </p:nvSpPr>
        <p:spPr>
          <a:xfrm>
            <a:off x="5049754"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7" name="자유형 186"/>
          <p:cNvSpPr/>
          <p:nvPr/>
        </p:nvSpPr>
        <p:spPr>
          <a:xfrm>
            <a:off x="4957560"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8" name="자유형 187"/>
          <p:cNvSpPr/>
          <p:nvPr/>
        </p:nvSpPr>
        <p:spPr>
          <a:xfrm>
            <a:off x="4957560"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0" name="자유형 189"/>
          <p:cNvSpPr/>
          <p:nvPr/>
        </p:nvSpPr>
        <p:spPr>
          <a:xfrm>
            <a:off x="5390620"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6" name="자유형 195"/>
          <p:cNvSpPr/>
          <p:nvPr/>
        </p:nvSpPr>
        <p:spPr>
          <a:xfrm>
            <a:off x="7443423"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7" name="자유형 196"/>
          <p:cNvSpPr/>
          <p:nvPr/>
        </p:nvSpPr>
        <p:spPr>
          <a:xfrm>
            <a:off x="6855578"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8" name="자유형 197"/>
          <p:cNvSpPr/>
          <p:nvPr/>
        </p:nvSpPr>
        <p:spPr>
          <a:xfrm>
            <a:off x="6568001"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9" name="TextBox 198"/>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200" name="TextBox 199"/>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201" name="TextBox 200"/>
          <p:cNvSpPr txBox="1"/>
          <p:nvPr/>
        </p:nvSpPr>
        <p:spPr>
          <a:xfrm>
            <a:off x="5107552" y="4562656"/>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203" name="TextBox 202"/>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208" name="TextBox 207"/>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209" name="TextBox 208"/>
          <p:cNvSpPr txBox="1"/>
          <p:nvPr/>
        </p:nvSpPr>
        <p:spPr>
          <a:xfrm>
            <a:off x="7573461" y="3861048"/>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성산읍</a:t>
            </a:r>
          </a:p>
        </p:txBody>
      </p:sp>
      <p:sp>
        <p:nvSpPr>
          <p:cNvPr id="210" name="TextBox 209"/>
          <p:cNvSpPr txBox="1"/>
          <p:nvPr/>
        </p:nvSpPr>
        <p:spPr>
          <a:xfrm>
            <a:off x="7034379"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211" name="TextBox 210"/>
          <p:cNvSpPr txBox="1"/>
          <p:nvPr/>
        </p:nvSpPr>
        <p:spPr>
          <a:xfrm>
            <a:off x="6810579"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232" name="TextBox 231"/>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3" name="TextBox 232"/>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4" name="TextBox 233"/>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5" name="TextBox 234"/>
          <p:cNvSpPr txBox="1"/>
          <p:nvPr/>
        </p:nvSpPr>
        <p:spPr>
          <a:xfrm>
            <a:off x="5409258"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6" name="TextBox 235"/>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8" name="TextBox 237"/>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9" name="그룹 8"/>
          <p:cNvGrpSpPr/>
          <p:nvPr/>
        </p:nvGrpSpPr>
        <p:grpSpPr>
          <a:xfrm>
            <a:off x="6569577" y="3326922"/>
            <a:ext cx="658161" cy="878963"/>
            <a:chOff x="6569577" y="3326922"/>
            <a:chExt cx="658161" cy="878963"/>
          </a:xfrm>
        </p:grpSpPr>
        <p:sp>
          <p:nvSpPr>
            <p:cNvPr id="194" name="자유형 193"/>
            <p:cNvSpPr/>
            <p:nvPr/>
          </p:nvSpPr>
          <p:spPr>
            <a:xfrm>
              <a:off x="6569577"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6" name="TextBox 205"/>
            <p:cNvSpPr txBox="1"/>
            <p:nvPr/>
          </p:nvSpPr>
          <p:spPr>
            <a:xfrm>
              <a:off x="6741969" y="3671531"/>
              <a:ext cx="468488" cy="15255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조천읍</a:t>
              </a:r>
            </a:p>
          </p:txBody>
        </p:sp>
        <p:sp>
          <p:nvSpPr>
            <p:cNvPr id="239" name="TextBox 238"/>
            <p:cNvSpPr txBox="1"/>
            <p:nvPr/>
          </p:nvSpPr>
          <p:spPr>
            <a:xfrm>
              <a:off x="6746445" y="3482897"/>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240" name="TextBox 239"/>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5" name="자유형 194"/>
          <p:cNvSpPr/>
          <p:nvPr/>
        </p:nvSpPr>
        <p:spPr>
          <a:xfrm>
            <a:off x="7140338"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7" name="TextBox 206"/>
          <p:cNvSpPr txBox="1"/>
          <p:nvPr/>
        </p:nvSpPr>
        <p:spPr>
          <a:xfrm>
            <a:off x="7349661" y="3577593"/>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구좌읍</a:t>
            </a:r>
          </a:p>
        </p:txBody>
      </p:sp>
      <p:sp>
        <p:nvSpPr>
          <p:cNvPr id="241" name="TextBox 240"/>
          <p:cNvSpPr txBox="1"/>
          <p:nvPr/>
        </p:nvSpPr>
        <p:spPr>
          <a:xfrm>
            <a:off x="7353546" y="338625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2" name="TextBox 241"/>
          <p:cNvSpPr txBox="1"/>
          <p:nvPr/>
        </p:nvSpPr>
        <p:spPr>
          <a:xfrm>
            <a:off x="7573461"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3" name="TextBox 242"/>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4" name="TextBox 243"/>
          <p:cNvSpPr txBox="1"/>
          <p:nvPr/>
        </p:nvSpPr>
        <p:spPr>
          <a:xfrm>
            <a:off x="2795637" y="43139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5" name="TextBox 244"/>
          <p:cNvSpPr txBox="1"/>
          <p:nvPr/>
        </p:nvSpPr>
        <p:spPr>
          <a:xfrm>
            <a:off x="7187088"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6" name="TextBox 245"/>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7" name="TextBox 246"/>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8" name="TextBox 247"/>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0" name="TextBox 249"/>
          <p:cNvSpPr txBox="1"/>
          <p:nvPr/>
        </p:nvSpPr>
        <p:spPr>
          <a:xfrm>
            <a:off x="5111655" y="47330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1" name="TextBox 250"/>
          <p:cNvSpPr txBox="1"/>
          <p:nvPr/>
        </p:nvSpPr>
        <p:spPr>
          <a:xfrm>
            <a:off x="786591" y="474167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2" name="TextBox 251"/>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3" name="TextBox 252"/>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4" name="TextBox 253"/>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5" name="TextBox 254"/>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0" name="TextBox 109"/>
          <p:cNvSpPr txBox="1"/>
          <p:nvPr/>
        </p:nvSpPr>
        <p:spPr>
          <a:xfrm>
            <a:off x="1925534" y="353261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1" name="TextBox 110"/>
          <p:cNvSpPr txBox="1"/>
          <p:nvPr/>
        </p:nvSpPr>
        <p:spPr>
          <a:xfrm>
            <a:off x="1749907" y="46974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3" name="자유형 192"/>
          <p:cNvSpPr/>
          <p:nvPr/>
        </p:nvSpPr>
        <p:spPr>
          <a:xfrm>
            <a:off x="5882886" y="4188953"/>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31" name="TextBox 230"/>
          <p:cNvSpPr txBox="1"/>
          <p:nvPr/>
        </p:nvSpPr>
        <p:spPr>
          <a:xfrm>
            <a:off x="6076739" y="4365104"/>
            <a:ext cx="61598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2" name="TextBox 111"/>
          <p:cNvSpPr txBox="1"/>
          <p:nvPr/>
        </p:nvSpPr>
        <p:spPr>
          <a:xfrm>
            <a:off x="6095338" y="46974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2" name="자유형 191"/>
          <p:cNvSpPr/>
          <p:nvPr/>
        </p:nvSpPr>
        <p:spPr>
          <a:xfrm>
            <a:off x="6193020" y="3403046"/>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5" name="TextBox 204"/>
          <p:cNvSpPr txBox="1"/>
          <p:nvPr/>
        </p:nvSpPr>
        <p:spPr>
          <a:xfrm>
            <a:off x="6304739" y="3670519"/>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3" name="TextBox 112"/>
          <p:cNvSpPr txBox="1"/>
          <p:nvPr/>
        </p:nvSpPr>
        <p:spPr>
          <a:xfrm>
            <a:off x="6267734" y="352843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8" name="TextBox 117"/>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119" name="TextBox 118"/>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graphicFrame>
        <p:nvGraphicFramePr>
          <p:cNvPr id="120" name="표 119"/>
          <p:cNvGraphicFramePr>
            <a:graphicFrameLocks noGrp="1"/>
          </p:cNvGraphicFramePr>
          <p:nvPr>
            <p:extLst>
              <p:ext uri="{D42A27DB-BD31-4B8C-83A1-F6EECF244321}">
                <p14:modId xmlns:p14="http://schemas.microsoft.com/office/powerpoint/2010/main" val="708489445"/>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grpSp>
        <p:nvGrpSpPr>
          <p:cNvPr id="10" name="그룹 9"/>
          <p:cNvGrpSpPr/>
          <p:nvPr/>
        </p:nvGrpSpPr>
        <p:grpSpPr>
          <a:xfrm>
            <a:off x="5775749" y="3541197"/>
            <a:ext cx="803528" cy="755599"/>
            <a:chOff x="5775749" y="3541197"/>
            <a:chExt cx="803528" cy="755599"/>
          </a:xfrm>
        </p:grpSpPr>
        <p:sp>
          <p:nvSpPr>
            <p:cNvPr id="191" name="자유형 190"/>
            <p:cNvSpPr/>
            <p:nvPr/>
          </p:nvSpPr>
          <p:spPr>
            <a:xfrm>
              <a:off x="5775749"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4" name="TextBox 203"/>
            <p:cNvSpPr txBox="1"/>
            <p:nvPr/>
          </p:nvSpPr>
          <p:spPr>
            <a:xfrm>
              <a:off x="5867184" y="3911318"/>
              <a:ext cx="468488" cy="15255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237" name="TextBox 236"/>
            <p:cNvSpPr txBox="1"/>
            <p:nvPr/>
          </p:nvSpPr>
          <p:spPr>
            <a:xfrm>
              <a:off x="5861094" y="3730201"/>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nvGrpSpPr>
          <p:cNvPr id="11" name="그룹 10"/>
          <p:cNvGrpSpPr/>
          <p:nvPr/>
        </p:nvGrpSpPr>
        <p:grpSpPr>
          <a:xfrm>
            <a:off x="5523413" y="4278751"/>
            <a:ext cx="597994" cy="639440"/>
            <a:chOff x="5523413" y="4278751"/>
            <a:chExt cx="597994" cy="639440"/>
          </a:xfrm>
        </p:grpSpPr>
        <p:sp>
          <p:nvSpPr>
            <p:cNvPr id="189" name="자유형 188"/>
            <p:cNvSpPr/>
            <p:nvPr/>
          </p:nvSpPr>
          <p:spPr>
            <a:xfrm>
              <a:off x="5566550"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2" name="TextBox 201"/>
            <p:cNvSpPr txBox="1"/>
            <p:nvPr/>
          </p:nvSpPr>
          <p:spPr>
            <a:xfrm>
              <a:off x="5579441" y="4463388"/>
              <a:ext cx="468488" cy="15255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안덕면</a:t>
              </a:r>
            </a:p>
          </p:txBody>
        </p:sp>
        <p:sp>
          <p:nvSpPr>
            <p:cNvPr id="249" name="TextBox 248"/>
            <p:cNvSpPr txBox="1"/>
            <p:nvPr/>
          </p:nvSpPr>
          <p:spPr>
            <a:xfrm>
              <a:off x="5523179" y="464534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Tree>
    <p:extLst>
      <p:ext uri="{BB962C8B-B14F-4D97-AF65-F5344CB8AC3E}">
        <p14:creationId xmlns:p14="http://schemas.microsoft.com/office/powerpoint/2010/main" val="2064784998"/>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32.9</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식음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쇼핑</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교통 순으로 소비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2" name="텍스트 개체 틀 1"/>
          <p:cNvSpPr>
            <a:spLocks noGrp="1"/>
          </p:cNvSpPr>
          <p:nvPr>
            <p:ph type="body" sz="quarter" idx="12"/>
          </p:nvPr>
        </p:nvSpPr>
        <p:spPr>
          <a:xfrm>
            <a:off x="250828" y="518352"/>
            <a:ext cx="8137599" cy="284693"/>
          </a:xfrm>
        </p:spPr>
        <p:txBody>
          <a:bodyPr/>
          <a:lstStyle/>
          <a:p>
            <a:r>
              <a:rPr lang="en-US" altLang="ko-KR" smtClean="0"/>
              <a:t>[</a:t>
            </a:r>
            <a:r>
              <a:rPr lang="ko-KR" altLang="en-US" smtClean="0"/>
              <a:t>개별</a:t>
            </a:r>
            <a:r>
              <a:rPr lang="en-US" altLang="ko-KR" smtClean="0"/>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a:solidFill>
                  <a:srgbClr val="FFFFFF"/>
                </a:solidFill>
                <a:latin typeface="Arial" pitchFamily="34" charset="0"/>
                <a:cs typeface="Arial" pitchFamily="34" charset="0"/>
              </a:rPr>
              <a:t>3</a:t>
            </a:r>
            <a:r>
              <a:rPr lang="en-US" altLang="ko-KR" sz="1400" b="1" smtClean="0">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195" name="모서리가 둥근 직사각형 194"/>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98" name="모서리가 둥근 직사각형 197"/>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99" name="모서리가 둥근 직사각형 198"/>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200" name="모서리가 둥근 직사각형 199"/>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201" name="모서리가 둥근 직사각형 200"/>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202" name="모서리가 둥근 직사각형 201"/>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203" name="모서리가 둥근 직사각형 202"/>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204" name="모서리가 둥근 직사각형 203"/>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205" name="모서리가 둥근 직사각형 204"/>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206" name="직사각형 205"/>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1.4</a:t>
            </a:r>
            <a:r>
              <a:rPr lang="ko-KR" altLang="en-US" sz="1200">
                <a:solidFill>
                  <a:srgbClr val="000000"/>
                </a:solidFill>
              </a:rPr>
              <a:t>만원</a:t>
            </a:r>
          </a:p>
        </p:txBody>
      </p:sp>
      <p:sp>
        <p:nvSpPr>
          <p:cNvPr id="207" name="직사각형 206"/>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2.6</a:t>
            </a:r>
            <a:r>
              <a:rPr lang="ko-KR" altLang="en-US" sz="1200">
                <a:solidFill>
                  <a:srgbClr val="000000"/>
                </a:solidFill>
              </a:rPr>
              <a:t>만원</a:t>
            </a:r>
          </a:p>
        </p:txBody>
      </p:sp>
      <p:sp>
        <p:nvSpPr>
          <p:cNvPr id="208" name="직사각형 207"/>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1.1</a:t>
            </a:r>
            <a:r>
              <a:rPr lang="ko-KR" altLang="en-US" sz="1200">
                <a:solidFill>
                  <a:srgbClr val="000000"/>
                </a:solidFill>
              </a:rPr>
              <a:t>만원</a:t>
            </a:r>
          </a:p>
        </p:txBody>
      </p:sp>
      <p:sp>
        <p:nvSpPr>
          <p:cNvPr id="209" name="직사각형 208"/>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2.9</a:t>
            </a:r>
            <a:r>
              <a:rPr lang="ko-KR" altLang="en-US" sz="1200">
                <a:solidFill>
                  <a:srgbClr val="000000"/>
                </a:solidFill>
              </a:rPr>
              <a:t>만원</a:t>
            </a:r>
          </a:p>
        </p:txBody>
      </p:sp>
      <p:grpSp>
        <p:nvGrpSpPr>
          <p:cNvPr id="210" name="그룹 209"/>
          <p:cNvGrpSpPr/>
          <p:nvPr/>
        </p:nvGrpSpPr>
        <p:grpSpPr>
          <a:xfrm>
            <a:off x="1909289" y="3443939"/>
            <a:ext cx="781200" cy="2957417"/>
            <a:chOff x="1909289" y="3477639"/>
            <a:chExt cx="781200" cy="2957417"/>
          </a:xfrm>
        </p:grpSpPr>
        <p:sp>
          <p:nvSpPr>
            <p:cNvPr id="211" name="직사각형 21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8%</a:t>
              </a:r>
              <a:endParaRPr lang="ko-KR" altLang="en-US" sz="1200">
                <a:solidFill>
                  <a:srgbClr val="000000"/>
                </a:solidFill>
              </a:endParaRPr>
            </a:p>
          </p:txBody>
        </p:sp>
        <p:sp>
          <p:nvSpPr>
            <p:cNvPr id="212" name="직사각형 21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213" name="직사각형 21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7%</a:t>
              </a:r>
              <a:endParaRPr lang="ko-KR" altLang="en-US" sz="1200">
                <a:solidFill>
                  <a:srgbClr val="000000"/>
                </a:solidFill>
              </a:endParaRPr>
            </a:p>
          </p:txBody>
        </p:sp>
        <p:sp>
          <p:nvSpPr>
            <p:cNvPr id="214" name="직사각형 21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15" name="직사각형 21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216" name="직사각형 21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17" name="직사각형 21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18" name="직사각형 21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grpSp>
      <p:grpSp>
        <p:nvGrpSpPr>
          <p:cNvPr id="219" name="그룹 218"/>
          <p:cNvGrpSpPr/>
          <p:nvPr/>
        </p:nvGrpSpPr>
        <p:grpSpPr>
          <a:xfrm>
            <a:off x="2774714" y="3443939"/>
            <a:ext cx="781200" cy="2957417"/>
            <a:chOff x="1909289" y="3477639"/>
            <a:chExt cx="781200" cy="2957417"/>
          </a:xfrm>
        </p:grpSpPr>
        <p:sp>
          <p:nvSpPr>
            <p:cNvPr id="220" name="직사각형 21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1%</a:t>
              </a:r>
              <a:endParaRPr lang="ko-KR" altLang="en-US" sz="1200">
                <a:solidFill>
                  <a:srgbClr val="000000"/>
                </a:solidFill>
              </a:endParaRPr>
            </a:p>
          </p:txBody>
        </p:sp>
        <p:sp>
          <p:nvSpPr>
            <p:cNvPr id="221" name="직사각형 22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4%</a:t>
              </a:r>
              <a:endParaRPr lang="ko-KR" altLang="en-US" sz="1200">
                <a:solidFill>
                  <a:srgbClr val="000000"/>
                </a:solidFill>
              </a:endParaRPr>
            </a:p>
          </p:txBody>
        </p:sp>
        <p:sp>
          <p:nvSpPr>
            <p:cNvPr id="222" name="직사각형 22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7%</a:t>
              </a:r>
              <a:endParaRPr lang="ko-KR" altLang="en-US" sz="1200">
                <a:solidFill>
                  <a:srgbClr val="000000"/>
                </a:solidFill>
              </a:endParaRPr>
            </a:p>
          </p:txBody>
        </p:sp>
        <p:sp>
          <p:nvSpPr>
            <p:cNvPr id="223" name="직사각형 22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24" name="직사각형 22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225" name="직사각형 22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26" name="직사각형 22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27" name="직사각형 22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grpSp>
      <p:grpSp>
        <p:nvGrpSpPr>
          <p:cNvPr id="228" name="그룹 227"/>
          <p:cNvGrpSpPr/>
          <p:nvPr/>
        </p:nvGrpSpPr>
        <p:grpSpPr>
          <a:xfrm>
            <a:off x="3640139" y="3443939"/>
            <a:ext cx="781200" cy="2957417"/>
            <a:chOff x="1909289" y="3477639"/>
            <a:chExt cx="781200" cy="2957417"/>
          </a:xfrm>
        </p:grpSpPr>
        <p:sp>
          <p:nvSpPr>
            <p:cNvPr id="229" name="직사각형 22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2%</a:t>
              </a:r>
              <a:endParaRPr lang="ko-KR" altLang="en-US" sz="1200">
                <a:solidFill>
                  <a:srgbClr val="000000"/>
                </a:solidFill>
              </a:endParaRPr>
            </a:p>
          </p:txBody>
        </p:sp>
        <p:sp>
          <p:nvSpPr>
            <p:cNvPr id="230" name="직사각형 22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4%</a:t>
              </a:r>
              <a:endParaRPr lang="ko-KR" altLang="en-US" sz="1200">
                <a:solidFill>
                  <a:srgbClr val="000000"/>
                </a:solidFill>
              </a:endParaRPr>
            </a:p>
          </p:txBody>
        </p:sp>
        <p:sp>
          <p:nvSpPr>
            <p:cNvPr id="231" name="직사각형 23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232" name="직사각형 23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33" name="직사각형 23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234" name="직사각형 23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35" name="직사각형 23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6" name="직사각형 23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grpSp>
      <p:grpSp>
        <p:nvGrpSpPr>
          <p:cNvPr id="237" name="그룹 236"/>
          <p:cNvGrpSpPr/>
          <p:nvPr/>
        </p:nvGrpSpPr>
        <p:grpSpPr>
          <a:xfrm>
            <a:off x="4505564" y="3443939"/>
            <a:ext cx="781200" cy="2957417"/>
            <a:chOff x="1909289" y="3477639"/>
            <a:chExt cx="781200" cy="2957417"/>
          </a:xfrm>
        </p:grpSpPr>
        <p:sp>
          <p:nvSpPr>
            <p:cNvPr id="238" name="직사각형 237"/>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2%</a:t>
              </a:r>
              <a:endParaRPr lang="ko-KR" altLang="en-US" sz="1200">
                <a:solidFill>
                  <a:srgbClr val="000000"/>
                </a:solidFill>
              </a:endParaRPr>
            </a:p>
          </p:txBody>
        </p:sp>
        <p:sp>
          <p:nvSpPr>
            <p:cNvPr id="239" name="직사각형 238"/>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5%</a:t>
              </a:r>
              <a:endParaRPr lang="ko-KR" altLang="en-US" sz="1200">
                <a:solidFill>
                  <a:srgbClr val="000000"/>
                </a:solidFill>
              </a:endParaRPr>
            </a:p>
          </p:txBody>
        </p:sp>
        <p:sp>
          <p:nvSpPr>
            <p:cNvPr id="240" name="직사각형 239"/>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241" name="직사각형 240"/>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42" name="직사각형 241"/>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sp>
          <p:nvSpPr>
            <p:cNvPr id="243" name="직사각형 242"/>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44" name="직사각형 243"/>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45" name="직사각형 244"/>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grpSp>
      <p:sp>
        <p:nvSpPr>
          <p:cNvPr id="246" name="모서리가 둥근 직사각형 245"/>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247" name="직선 연결선 246"/>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8" name="타원 247"/>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249" name="그룹 248"/>
          <p:cNvGrpSpPr/>
          <p:nvPr/>
        </p:nvGrpSpPr>
        <p:grpSpPr>
          <a:xfrm>
            <a:off x="1909289" y="2459100"/>
            <a:ext cx="782771" cy="108000"/>
            <a:chOff x="1909289" y="2402892"/>
            <a:chExt cx="782771" cy="108000"/>
          </a:xfrm>
        </p:grpSpPr>
        <p:sp>
          <p:nvSpPr>
            <p:cNvPr id="250" name="타원 249"/>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1" name="타원 250"/>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52" name="TextBox 251"/>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3" name="TextBox 252"/>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4" name="타원 253"/>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5" name="타원 254"/>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6" name="타원 255"/>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7" name="타원 256"/>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8" name="TextBox 257"/>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9" name="TextBox 258"/>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60" name="그룹 259"/>
          <p:cNvGrpSpPr/>
          <p:nvPr/>
        </p:nvGrpSpPr>
        <p:grpSpPr>
          <a:xfrm>
            <a:off x="3639689" y="2222764"/>
            <a:ext cx="782771" cy="584643"/>
            <a:chOff x="2774489" y="2160281"/>
            <a:chExt cx="782771" cy="584643"/>
          </a:xfrm>
        </p:grpSpPr>
        <p:sp>
          <p:nvSpPr>
            <p:cNvPr id="261" name="TextBox 260"/>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2" name="TextBox 261"/>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63" name="그룹 262"/>
          <p:cNvGrpSpPr/>
          <p:nvPr/>
        </p:nvGrpSpPr>
        <p:grpSpPr>
          <a:xfrm>
            <a:off x="4504889" y="2222764"/>
            <a:ext cx="782771" cy="584643"/>
            <a:chOff x="2774489" y="2160281"/>
            <a:chExt cx="782771" cy="584643"/>
          </a:xfrm>
        </p:grpSpPr>
        <p:sp>
          <p:nvSpPr>
            <p:cNvPr id="264" name="TextBox 263"/>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5" name="TextBox 264"/>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TextBox 77"/>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79" name="TextBox 78"/>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0" name="TextBox 79"/>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1" name="TextBox 80"/>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2" name="직사각형 81"/>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32.6</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32.9</a:t>
            </a:r>
            <a:r>
              <a:rPr lang="ko-KR" altLang="en-US" sz="1200">
                <a:solidFill>
                  <a:srgbClr val="000000"/>
                </a:solidFill>
              </a:rPr>
              <a:t>만원으로 </a:t>
            </a:r>
            <a:r>
              <a:rPr lang="en-US" altLang="ko-KR" sz="1200">
                <a:solidFill>
                  <a:srgbClr val="000000"/>
                </a:solidFill>
              </a:rPr>
              <a:t>1% </a:t>
            </a:r>
            <a:r>
              <a:rPr lang="ko-KR" altLang="en-US" sz="1200">
                <a:solidFill>
                  <a:srgbClr val="000000"/>
                </a:solidFill>
              </a:rPr>
              <a:t>증가</a:t>
            </a:r>
            <a:endParaRPr lang="en-US" altLang="ko-KR" sz="1200">
              <a:solidFill>
                <a:srgbClr val="000000"/>
              </a:solidFill>
            </a:endParaRPr>
          </a:p>
        </p:txBody>
      </p:sp>
      <p:sp>
        <p:nvSpPr>
          <p:cNvPr id="83" name="직사각형 82"/>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식음료 업종은 큰 폭은 아니나</a:t>
            </a:r>
            <a:r>
              <a:rPr lang="en-US" altLang="ko-KR" sz="1200">
                <a:solidFill>
                  <a:srgbClr val="000000"/>
                </a:solidFill>
              </a:rPr>
              <a:t>,                          H1 </a:t>
            </a:r>
            <a:r>
              <a:rPr lang="en-US" altLang="ko-KR" sz="1200">
                <a:solidFill>
                  <a:srgbClr val="000000"/>
                </a:solidFill>
                <a:sym typeface="Wingdings"/>
              </a:rPr>
              <a:t> H3 4%p, H2  H4 1%p </a:t>
            </a:r>
            <a:r>
              <a:rPr lang="ko-KR" altLang="en-US" sz="1200">
                <a:solidFill>
                  <a:srgbClr val="000000"/>
                </a:solidFill>
                <a:sym typeface="Wingdings"/>
              </a:rPr>
              <a:t>상승</a:t>
            </a:r>
            <a:endParaRPr lang="en-US" altLang="ko-KR" sz="1200">
              <a:solidFill>
                <a:srgbClr val="000000"/>
              </a:solidFill>
            </a:endParaRPr>
          </a:p>
        </p:txBody>
      </p:sp>
      <p:sp>
        <p:nvSpPr>
          <p:cNvPr id="84" name="직사각형 83"/>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26~27% </a:t>
            </a:r>
            <a:r>
              <a:rPr lang="ko-KR" altLang="en-US" sz="1200">
                <a:solidFill>
                  <a:srgbClr val="000000"/>
                </a:solidFill>
              </a:rPr>
              <a:t>내외를 유지</a:t>
            </a:r>
            <a:endParaRPr lang="en-US" altLang="ko-KR" sz="1200">
              <a:solidFill>
                <a:srgbClr val="000000"/>
              </a:solidFill>
            </a:endParaRPr>
          </a:p>
        </p:txBody>
      </p:sp>
      <p:sp>
        <p:nvSpPr>
          <p:cNvPr id="85" name="직사각형 84"/>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86" name="타원 85"/>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7" name="타원 86"/>
          <p:cNvSpPr/>
          <p:nvPr/>
        </p:nvSpPr>
        <p:spPr>
          <a:xfrm>
            <a:off x="5822615" y="566127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8" name="타원 87"/>
          <p:cNvSpPr/>
          <p:nvPr/>
        </p:nvSpPr>
        <p:spPr>
          <a:xfrm>
            <a:off x="5822615" y="4393219"/>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9" name="타원 88"/>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1" name="직사각형 90"/>
          <p:cNvSpPr/>
          <p:nvPr/>
        </p:nvSpPr>
        <p:spPr>
          <a:xfrm>
            <a:off x="1903851" y="3451048"/>
            <a:ext cx="3384000" cy="325944"/>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2" name="타원 91"/>
          <p:cNvSpPr/>
          <p:nvPr/>
        </p:nvSpPr>
        <p:spPr>
          <a:xfrm>
            <a:off x="1871724" y="3374890"/>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3" name="직사각형 92"/>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4" name="타원 93"/>
          <p:cNvSpPr/>
          <p:nvPr/>
        </p:nvSpPr>
        <p:spPr>
          <a:xfrm>
            <a:off x="1871724" y="485128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nvGrpSpPr>
          <p:cNvPr id="3" name="그룹 2"/>
          <p:cNvGrpSpPr/>
          <p:nvPr/>
        </p:nvGrpSpPr>
        <p:grpSpPr>
          <a:xfrm>
            <a:off x="2231740" y="5222171"/>
            <a:ext cx="2993171" cy="144000"/>
            <a:chOff x="2231740" y="5222171"/>
            <a:chExt cx="2993171" cy="144000"/>
          </a:xfrm>
        </p:grpSpPr>
        <p:sp>
          <p:nvSpPr>
            <p:cNvPr id="95" name="TextBox 94"/>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7%</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6" name="TextBox 95"/>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6%</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7" name="TextBox 96"/>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7%</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8" name="TextBox 97"/>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7%</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grpSp>
    </p:spTree>
    <p:extLst>
      <p:ext uri="{BB962C8B-B14F-4D97-AF65-F5344CB8AC3E}">
        <p14:creationId xmlns:p14="http://schemas.microsoft.com/office/powerpoint/2010/main" val="235716185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자유형 138"/>
          <p:cNvSpPr/>
          <p:nvPr/>
        </p:nvSpPr>
        <p:spPr>
          <a:xfrm>
            <a:off x="7443423"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2" name="자유형 211"/>
          <p:cNvSpPr/>
          <p:nvPr/>
        </p:nvSpPr>
        <p:spPr>
          <a:xfrm>
            <a:off x="6855578"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3" name="자유형 212"/>
          <p:cNvSpPr/>
          <p:nvPr/>
        </p:nvSpPr>
        <p:spPr>
          <a:xfrm>
            <a:off x="6568001"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59.3%)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15.5%) – </a:t>
            </a:r>
            <a:r>
              <a:rPr lang="ko-KR" altLang="en-US" sz="1600" spc="100">
                <a:ln>
                  <a:solidFill>
                    <a:prstClr val="black">
                      <a:alpha val="20000"/>
                    </a:prstClr>
                  </a:solidFill>
                </a:ln>
                <a:solidFill>
                  <a:srgbClr val="000000"/>
                </a:solidFill>
                <a:latin typeface="NOVA Bold"/>
                <a:ea typeface="NOVA Bold"/>
                <a:cs typeface="Arial" pitchFamily="34" charset="0"/>
              </a:rPr>
              <a:t>성산읍</a:t>
            </a:r>
            <a:r>
              <a:rPr lang="en-US" altLang="ko-KR" sz="1600" spc="100">
                <a:ln>
                  <a:solidFill>
                    <a:prstClr val="black">
                      <a:alpha val="20000"/>
                    </a:prstClr>
                  </a:solidFill>
                </a:ln>
                <a:solidFill>
                  <a:srgbClr val="000000"/>
                </a:solidFill>
                <a:latin typeface="NOVA Bold"/>
                <a:ea typeface="NOVA Bold"/>
                <a:cs typeface="Arial" pitchFamily="34" charset="0"/>
              </a:rPr>
              <a:t> (4.2%)</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59.1%)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15.2%) – </a:t>
            </a:r>
            <a:r>
              <a:rPr lang="ko-KR" altLang="en-US" sz="1600" spc="100">
                <a:ln>
                  <a:solidFill>
                    <a:prstClr val="black">
                      <a:alpha val="20000"/>
                    </a:prstClr>
                  </a:solidFill>
                </a:ln>
                <a:solidFill>
                  <a:srgbClr val="000000"/>
                </a:solidFill>
                <a:latin typeface="NOVA Bold"/>
                <a:ea typeface="NOVA Bold"/>
                <a:cs typeface="Arial" pitchFamily="34" charset="0"/>
              </a:rPr>
              <a:t>성산읍 </a:t>
            </a:r>
            <a:r>
              <a:rPr lang="en-US" altLang="ko-KR" sz="1600" spc="100">
                <a:ln>
                  <a:solidFill>
                    <a:prstClr val="black">
                      <a:alpha val="20000"/>
                    </a:prstClr>
                  </a:solidFill>
                </a:ln>
                <a:solidFill>
                  <a:srgbClr val="000000"/>
                </a:solidFill>
                <a:latin typeface="NOVA Bold"/>
                <a:ea typeface="NOVA Bold"/>
                <a:cs typeface="Arial" pitchFamily="34" charset="0"/>
              </a:rPr>
              <a:t>(4.1%)</a:t>
            </a: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6" name="텍스트 개체 틀 5"/>
          <p:cNvSpPr>
            <a:spLocks noGrp="1"/>
          </p:cNvSpPr>
          <p:nvPr>
            <p:ph type="body" sz="quarter" idx="12"/>
          </p:nvPr>
        </p:nvSpPr>
        <p:spPr>
          <a:xfrm>
            <a:off x="250828" y="516698"/>
            <a:ext cx="8137599" cy="284693"/>
          </a:xfrm>
        </p:spPr>
        <p:txBody>
          <a:bodyPr/>
          <a:lstStyle/>
          <a:p>
            <a:r>
              <a:rPr lang="en-US" altLang="ko-KR" smtClean="0"/>
              <a:t>[</a:t>
            </a:r>
            <a:r>
              <a:rPr lang="ko-KR" altLang="en-US" smtClean="0"/>
              <a:t>단체</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a:solidFill>
                  <a:srgbClr val="FFFFFF"/>
                </a:solidFill>
                <a:latin typeface="Arial" pitchFamily="34" charset="0"/>
                <a:cs typeface="Arial" pitchFamily="34" charset="0"/>
              </a:rPr>
              <a:t>3</a:t>
            </a:r>
            <a:r>
              <a:rPr lang="en-US" altLang="ko-KR" sz="1400" b="1" smtClean="0">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69" name="TextBox 68"/>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70" name="TextBox 69"/>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71"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141" name="TextBox 140"/>
          <p:cNvSpPr txBox="1"/>
          <p:nvPr/>
        </p:nvSpPr>
        <p:spPr>
          <a:xfrm>
            <a:off x="4836947" y="5337212"/>
            <a:ext cx="3809093" cy="11208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모든 지역의 카드 이용자 비중 변화가 </a:t>
            </a:r>
            <a:r>
              <a:rPr lang="en-US" altLang="ko-KR" sz="1200">
                <a:solidFill>
                  <a:srgbClr val="000000"/>
                </a:solidFill>
                <a:cs typeface="Arial Narrow" pitchFamily="34" charset="0"/>
              </a:rPr>
              <a:t>±5%p </a:t>
            </a:r>
            <a:r>
              <a:rPr lang="ko-KR" altLang="en-US" sz="1200">
                <a:solidFill>
                  <a:srgbClr val="000000"/>
                </a:solidFill>
                <a:cs typeface="Arial Narrow" pitchFamily="34" charset="0"/>
              </a:rPr>
              <a:t>미만으로 큰 변동은 없음</a:t>
            </a:r>
            <a:endParaRPr lang="en-US" altLang="ko-KR" sz="1200">
              <a:solidFill>
                <a:srgbClr val="000000"/>
              </a:solidFill>
              <a:cs typeface="Arial Narrow" pitchFamily="34" charset="0"/>
            </a:endParaRPr>
          </a:p>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제주시 도심 인근인 구좌읍</a:t>
            </a:r>
            <a:r>
              <a:rPr lang="en-US" altLang="ko-KR" sz="1200">
                <a:solidFill>
                  <a:srgbClr val="000000"/>
                </a:solidFill>
                <a:cs typeface="Arial Narrow" pitchFamily="34" charset="0"/>
              </a:rPr>
              <a:t>(+0.4%p), </a:t>
            </a:r>
            <a:r>
              <a:rPr lang="ko-KR" altLang="en-US" sz="1200">
                <a:solidFill>
                  <a:srgbClr val="000000"/>
                </a:solidFill>
                <a:cs typeface="Arial Narrow" pitchFamily="34" charset="0"/>
              </a:rPr>
              <a:t>조천읍</a:t>
            </a:r>
            <a:r>
              <a:rPr lang="en-US" altLang="ko-KR" sz="1200">
                <a:solidFill>
                  <a:srgbClr val="000000"/>
                </a:solidFill>
                <a:cs typeface="Arial Narrow" pitchFamily="34" charset="0"/>
              </a:rPr>
              <a:t>(+0.3%p), </a:t>
            </a:r>
            <a:r>
              <a:rPr lang="ko-KR" altLang="en-US" sz="1200">
                <a:solidFill>
                  <a:srgbClr val="000000"/>
                </a:solidFill>
                <a:cs typeface="Arial Narrow" pitchFamily="34" charset="0"/>
              </a:rPr>
              <a:t>애월읍</a:t>
            </a:r>
            <a:r>
              <a:rPr lang="en-US" altLang="ko-KR" sz="1200">
                <a:solidFill>
                  <a:srgbClr val="000000"/>
                </a:solidFill>
                <a:cs typeface="Arial Narrow" pitchFamily="34" charset="0"/>
              </a:rPr>
              <a:t>(+0.2%p)</a:t>
            </a:r>
            <a:r>
              <a:rPr lang="ko-KR" altLang="en-US" sz="1200">
                <a:solidFill>
                  <a:srgbClr val="000000"/>
                </a:solidFill>
                <a:cs typeface="Arial Narrow" pitchFamily="34" charset="0"/>
              </a:rPr>
              <a:t>의 비중이 소폭 상승하고</a:t>
            </a:r>
            <a:r>
              <a:rPr lang="en-US" altLang="ko-KR" sz="1200">
                <a:solidFill>
                  <a:srgbClr val="000000"/>
                </a:solidFill>
                <a:cs typeface="Arial Narrow" pitchFamily="34" charset="0"/>
              </a:rPr>
              <a:t>, </a:t>
            </a:r>
            <a:r>
              <a:rPr lang="ko-KR" altLang="en-US" sz="1200">
                <a:solidFill>
                  <a:srgbClr val="000000"/>
                </a:solidFill>
                <a:cs typeface="Arial Narrow" pitchFamily="34" charset="0"/>
              </a:rPr>
              <a:t>서귀포시 지역은 전반적으로 소폭 하락</a:t>
            </a:r>
          </a:p>
        </p:txBody>
      </p:sp>
      <p:sp>
        <p:nvSpPr>
          <p:cNvPr id="87" name="자유형 86"/>
          <p:cNvSpPr/>
          <p:nvPr/>
        </p:nvSpPr>
        <p:spPr>
          <a:xfrm>
            <a:off x="534747"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88" name="자유형 87"/>
          <p:cNvSpPr/>
          <p:nvPr/>
        </p:nvSpPr>
        <p:spPr>
          <a:xfrm>
            <a:off x="3820755"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89" name="자유형 88"/>
          <p:cNvSpPr/>
          <p:nvPr/>
        </p:nvSpPr>
        <p:spPr>
          <a:xfrm>
            <a:off x="2356430"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0" name="자유형 89"/>
          <p:cNvSpPr/>
          <p:nvPr/>
        </p:nvSpPr>
        <p:spPr>
          <a:xfrm>
            <a:off x="2252817"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1" name="자유형 90"/>
          <p:cNvSpPr/>
          <p:nvPr/>
        </p:nvSpPr>
        <p:spPr>
          <a:xfrm>
            <a:off x="865674"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2" name="자유형 91"/>
          <p:cNvSpPr/>
          <p:nvPr/>
        </p:nvSpPr>
        <p:spPr>
          <a:xfrm>
            <a:off x="488227"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3" name="자유형 92"/>
          <p:cNvSpPr/>
          <p:nvPr/>
        </p:nvSpPr>
        <p:spPr>
          <a:xfrm>
            <a:off x="543205"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4" name="자유형 93"/>
          <p:cNvSpPr/>
          <p:nvPr/>
        </p:nvSpPr>
        <p:spPr>
          <a:xfrm>
            <a:off x="682765"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5" name="자유형 94"/>
          <p:cNvSpPr/>
          <p:nvPr/>
        </p:nvSpPr>
        <p:spPr>
          <a:xfrm>
            <a:off x="590571"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6" name="자유형 95"/>
          <p:cNvSpPr/>
          <p:nvPr/>
        </p:nvSpPr>
        <p:spPr>
          <a:xfrm>
            <a:off x="590571"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7" name="자유형 96"/>
          <p:cNvSpPr/>
          <p:nvPr/>
        </p:nvSpPr>
        <p:spPr>
          <a:xfrm>
            <a:off x="1199561"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8" name="자유형 97"/>
          <p:cNvSpPr/>
          <p:nvPr/>
        </p:nvSpPr>
        <p:spPr>
          <a:xfrm>
            <a:off x="1023631"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9" name="자유형 98"/>
          <p:cNvSpPr/>
          <p:nvPr/>
        </p:nvSpPr>
        <p:spPr>
          <a:xfrm>
            <a:off x="1408760"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0" name="자유형 99"/>
          <p:cNvSpPr/>
          <p:nvPr/>
        </p:nvSpPr>
        <p:spPr>
          <a:xfrm>
            <a:off x="1826031" y="3403046"/>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1" name="자유형 100"/>
          <p:cNvSpPr/>
          <p:nvPr/>
        </p:nvSpPr>
        <p:spPr>
          <a:xfrm>
            <a:off x="1515897" y="4188953"/>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2" name="자유형 101"/>
          <p:cNvSpPr/>
          <p:nvPr/>
        </p:nvSpPr>
        <p:spPr>
          <a:xfrm>
            <a:off x="2202588"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3" name="자유형 102"/>
          <p:cNvSpPr/>
          <p:nvPr/>
        </p:nvSpPr>
        <p:spPr>
          <a:xfrm>
            <a:off x="2773349"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4" name="자유형 103"/>
          <p:cNvSpPr/>
          <p:nvPr/>
        </p:nvSpPr>
        <p:spPr>
          <a:xfrm>
            <a:off x="3076434" y="3562342"/>
            <a:ext cx="822559" cy="1006526"/>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5" name="자유형 104"/>
          <p:cNvSpPr/>
          <p:nvPr/>
        </p:nvSpPr>
        <p:spPr>
          <a:xfrm>
            <a:off x="2488589" y="3900670"/>
            <a:ext cx="947317" cy="788727"/>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6" name="자유형 105"/>
          <p:cNvSpPr/>
          <p:nvPr/>
        </p:nvSpPr>
        <p:spPr>
          <a:xfrm>
            <a:off x="2201012" y="4137500"/>
            <a:ext cx="892339" cy="778154"/>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7" name="TextBox 106"/>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08" name="TextBox 107"/>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09" name="TextBox 108"/>
          <p:cNvSpPr txBox="1"/>
          <p:nvPr/>
        </p:nvSpPr>
        <p:spPr>
          <a:xfrm>
            <a:off x="740563" y="458112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10" name="TextBox 109"/>
          <p:cNvSpPr txBox="1"/>
          <p:nvPr/>
        </p:nvSpPr>
        <p:spPr>
          <a:xfrm>
            <a:off x="1212686" y="446338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안덕면</a:t>
            </a:r>
          </a:p>
        </p:txBody>
      </p:sp>
      <p:sp>
        <p:nvSpPr>
          <p:cNvPr id="111" name="TextBox 110"/>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112" name="TextBox 111"/>
          <p:cNvSpPr txBox="1"/>
          <p:nvPr/>
        </p:nvSpPr>
        <p:spPr>
          <a:xfrm>
            <a:off x="1500429" y="391131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애월읍</a:t>
            </a:r>
          </a:p>
        </p:txBody>
      </p:sp>
      <p:sp>
        <p:nvSpPr>
          <p:cNvPr id="113" name="TextBox 112"/>
          <p:cNvSpPr txBox="1"/>
          <p:nvPr/>
        </p:nvSpPr>
        <p:spPr>
          <a:xfrm>
            <a:off x="1937750" y="3697287"/>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4" name="TextBox 113"/>
          <p:cNvSpPr txBox="1"/>
          <p:nvPr/>
        </p:nvSpPr>
        <p:spPr>
          <a:xfrm>
            <a:off x="2375214"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15" name="TextBox 114"/>
          <p:cNvSpPr txBox="1"/>
          <p:nvPr/>
        </p:nvSpPr>
        <p:spPr>
          <a:xfrm>
            <a:off x="2982672"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116" name="TextBox 115"/>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17" name="TextBox 116"/>
          <p:cNvSpPr txBox="1"/>
          <p:nvPr/>
        </p:nvSpPr>
        <p:spPr>
          <a:xfrm>
            <a:off x="3206472" y="3905190"/>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성산읍</a:t>
            </a:r>
          </a:p>
        </p:txBody>
      </p:sp>
      <p:sp>
        <p:nvSpPr>
          <p:cNvPr id="118" name="TextBox 117"/>
          <p:cNvSpPr txBox="1"/>
          <p:nvPr/>
        </p:nvSpPr>
        <p:spPr>
          <a:xfrm>
            <a:off x="2667390"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119" name="TextBox 118"/>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20" name="TextBox 119"/>
          <p:cNvSpPr txBox="1"/>
          <p:nvPr/>
        </p:nvSpPr>
        <p:spPr>
          <a:xfrm>
            <a:off x="1730655" y="4329100"/>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22" name="자유형 121"/>
          <p:cNvSpPr/>
          <p:nvPr/>
        </p:nvSpPr>
        <p:spPr>
          <a:xfrm>
            <a:off x="4901736" y="3363574"/>
            <a:ext cx="621677" cy="397535"/>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3" name="자유형 122"/>
          <p:cNvSpPr/>
          <p:nvPr/>
        </p:nvSpPr>
        <p:spPr>
          <a:xfrm>
            <a:off x="8187744" y="3553884"/>
            <a:ext cx="114186" cy="135331"/>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4" name="자유형 123"/>
          <p:cNvSpPr/>
          <p:nvPr/>
        </p:nvSpPr>
        <p:spPr>
          <a:xfrm>
            <a:off x="6723419" y="4972747"/>
            <a:ext cx="46520" cy="28546"/>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5" name="자유형 124"/>
          <p:cNvSpPr/>
          <p:nvPr/>
        </p:nvSpPr>
        <p:spPr>
          <a:xfrm>
            <a:off x="6619806" y="5021784"/>
            <a:ext cx="51807" cy="36602"/>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6" name="자유형 125"/>
          <p:cNvSpPr/>
          <p:nvPr/>
        </p:nvSpPr>
        <p:spPr>
          <a:xfrm>
            <a:off x="5232663" y="4007455"/>
            <a:ext cx="56036" cy="45474"/>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7" name="자유형 126"/>
          <p:cNvSpPr/>
          <p:nvPr/>
        </p:nvSpPr>
        <p:spPr>
          <a:xfrm>
            <a:off x="4855216" y="4544550"/>
            <a:ext cx="75067" cy="64497"/>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8" name="자유형 127"/>
          <p:cNvSpPr/>
          <p:nvPr/>
        </p:nvSpPr>
        <p:spPr>
          <a:xfrm>
            <a:off x="4910194" y="3358288"/>
            <a:ext cx="122644" cy="122644"/>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9" name="자유형 128"/>
          <p:cNvSpPr/>
          <p:nvPr/>
        </p:nvSpPr>
        <p:spPr>
          <a:xfrm>
            <a:off x="5049754" y="3460844"/>
            <a:ext cx="244230" cy="202997"/>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0" name="자유형 129"/>
          <p:cNvSpPr/>
          <p:nvPr/>
        </p:nvSpPr>
        <p:spPr>
          <a:xfrm>
            <a:off x="4957560" y="3984406"/>
            <a:ext cx="768004" cy="598840"/>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1" name="자유형 130"/>
          <p:cNvSpPr/>
          <p:nvPr/>
        </p:nvSpPr>
        <p:spPr>
          <a:xfrm>
            <a:off x="4957560" y="4410699"/>
            <a:ext cx="696955" cy="7104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2" name="자유형 131"/>
          <p:cNvSpPr/>
          <p:nvPr/>
        </p:nvSpPr>
        <p:spPr>
          <a:xfrm>
            <a:off x="5566550" y="4278751"/>
            <a:ext cx="554857" cy="63944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3" name="자유형 132"/>
          <p:cNvSpPr/>
          <p:nvPr/>
        </p:nvSpPr>
        <p:spPr>
          <a:xfrm>
            <a:off x="5390620" y="3676528"/>
            <a:ext cx="720638" cy="69018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6193020" y="3403046"/>
            <a:ext cx="617448" cy="788022"/>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5882886" y="4188953"/>
            <a:ext cx="930401" cy="776040"/>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8" name="자유형 137"/>
          <p:cNvSpPr/>
          <p:nvPr/>
        </p:nvSpPr>
        <p:spPr>
          <a:xfrm>
            <a:off x="7140338" y="3262076"/>
            <a:ext cx="978331" cy="755599"/>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4" name="TextBox 213"/>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215" name="TextBox 214"/>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216" name="TextBox 215"/>
          <p:cNvSpPr txBox="1"/>
          <p:nvPr/>
        </p:nvSpPr>
        <p:spPr>
          <a:xfrm>
            <a:off x="5107552" y="458112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217" name="TextBox 216"/>
          <p:cNvSpPr txBox="1"/>
          <p:nvPr/>
        </p:nvSpPr>
        <p:spPr>
          <a:xfrm>
            <a:off x="5579675" y="446338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안덕면</a:t>
            </a:r>
          </a:p>
        </p:txBody>
      </p:sp>
      <p:sp>
        <p:nvSpPr>
          <p:cNvPr id="218" name="TextBox 217"/>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220" name="TextBox 219"/>
          <p:cNvSpPr txBox="1"/>
          <p:nvPr/>
        </p:nvSpPr>
        <p:spPr>
          <a:xfrm>
            <a:off x="6304739" y="3697287"/>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22" name="TextBox 221"/>
          <p:cNvSpPr txBox="1"/>
          <p:nvPr/>
        </p:nvSpPr>
        <p:spPr>
          <a:xfrm>
            <a:off x="7349661"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223" name="TextBox 222"/>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224" name="TextBox 223"/>
          <p:cNvSpPr txBox="1"/>
          <p:nvPr/>
        </p:nvSpPr>
        <p:spPr>
          <a:xfrm>
            <a:off x="7573461" y="3905190"/>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성산읍</a:t>
            </a:r>
          </a:p>
        </p:txBody>
      </p:sp>
      <p:sp>
        <p:nvSpPr>
          <p:cNvPr id="225" name="TextBox 224"/>
          <p:cNvSpPr txBox="1"/>
          <p:nvPr/>
        </p:nvSpPr>
        <p:spPr>
          <a:xfrm>
            <a:off x="7034379"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226" name="TextBox 225"/>
          <p:cNvSpPr txBox="1"/>
          <p:nvPr/>
        </p:nvSpPr>
        <p:spPr>
          <a:xfrm>
            <a:off x="6810579"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227" name="TextBox 226"/>
          <p:cNvSpPr txBox="1"/>
          <p:nvPr/>
        </p:nvSpPr>
        <p:spPr>
          <a:xfrm>
            <a:off x="6076739" y="4329100"/>
            <a:ext cx="61598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42" name="TextBox 141"/>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5" name="TextBox 154"/>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6" name="TextBox 155"/>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7" name="TextBox 156"/>
          <p:cNvSpPr txBox="1"/>
          <p:nvPr/>
        </p:nvSpPr>
        <p:spPr>
          <a:xfrm>
            <a:off x="5436128"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8" name="TextBox 157"/>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7" name="그룹 6"/>
          <p:cNvGrpSpPr/>
          <p:nvPr/>
        </p:nvGrpSpPr>
        <p:grpSpPr>
          <a:xfrm>
            <a:off x="5775749" y="3541197"/>
            <a:ext cx="803528" cy="755599"/>
            <a:chOff x="5775749" y="3541197"/>
            <a:chExt cx="803528" cy="755599"/>
          </a:xfrm>
        </p:grpSpPr>
        <p:sp>
          <p:nvSpPr>
            <p:cNvPr id="134" name="자유형 133"/>
            <p:cNvSpPr/>
            <p:nvPr/>
          </p:nvSpPr>
          <p:spPr>
            <a:xfrm>
              <a:off x="5775749" y="3541197"/>
              <a:ext cx="803528" cy="755599"/>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9" name="TextBox 218"/>
            <p:cNvSpPr txBox="1"/>
            <p:nvPr/>
          </p:nvSpPr>
          <p:spPr>
            <a:xfrm>
              <a:off x="5867184" y="3911318"/>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애월읍</a:t>
              </a:r>
            </a:p>
          </p:txBody>
        </p:sp>
        <p:sp>
          <p:nvSpPr>
            <p:cNvPr id="159" name="TextBox 158"/>
            <p:cNvSpPr txBox="1"/>
            <p:nvPr/>
          </p:nvSpPr>
          <p:spPr>
            <a:xfrm>
              <a:off x="5861094" y="3730201"/>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160" name="TextBox 159"/>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5" name="그룹 4"/>
          <p:cNvGrpSpPr/>
          <p:nvPr/>
        </p:nvGrpSpPr>
        <p:grpSpPr>
          <a:xfrm>
            <a:off x="6569577" y="3326922"/>
            <a:ext cx="658161" cy="878963"/>
            <a:chOff x="6569577" y="3326922"/>
            <a:chExt cx="658161" cy="878963"/>
          </a:xfrm>
        </p:grpSpPr>
        <p:sp>
          <p:nvSpPr>
            <p:cNvPr id="137" name="자유형 136"/>
            <p:cNvSpPr/>
            <p:nvPr/>
          </p:nvSpPr>
          <p:spPr>
            <a:xfrm>
              <a:off x="6569577" y="3326922"/>
              <a:ext cx="658161" cy="878963"/>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21" name="TextBox 220"/>
            <p:cNvSpPr txBox="1"/>
            <p:nvPr/>
          </p:nvSpPr>
          <p:spPr>
            <a:xfrm>
              <a:off x="6741969" y="3671531"/>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61" name="TextBox 160"/>
            <p:cNvSpPr txBox="1"/>
            <p:nvPr/>
          </p:nvSpPr>
          <p:spPr>
            <a:xfrm>
              <a:off x="6746445" y="3482897"/>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162" name="TextBox 161"/>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3" name="TextBox 162"/>
          <p:cNvSpPr txBox="1"/>
          <p:nvPr/>
        </p:nvSpPr>
        <p:spPr>
          <a:xfrm>
            <a:off x="7353546" y="334487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4" name="TextBox 163"/>
          <p:cNvSpPr txBox="1"/>
          <p:nvPr/>
        </p:nvSpPr>
        <p:spPr>
          <a:xfrm>
            <a:off x="7573461" y="40955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5" name="TextBox 164"/>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6" name="TextBox 165"/>
          <p:cNvSpPr txBox="1"/>
          <p:nvPr/>
        </p:nvSpPr>
        <p:spPr>
          <a:xfrm>
            <a:off x="2795637" y="43139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7" name="TextBox 166"/>
          <p:cNvSpPr txBox="1"/>
          <p:nvPr/>
        </p:nvSpPr>
        <p:spPr>
          <a:xfrm>
            <a:off x="7187088"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8" name="TextBox 167"/>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9" name="TextBox 168"/>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0" name="TextBox 169"/>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1" name="TextBox 170"/>
          <p:cNvSpPr txBox="1"/>
          <p:nvPr/>
        </p:nvSpPr>
        <p:spPr>
          <a:xfrm>
            <a:off x="5523413" y="464534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2" name="TextBox 171"/>
          <p:cNvSpPr txBox="1"/>
          <p:nvPr/>
        </p:nvSpPr>
        <p:spPr>
          <a:xfrm>
            <a:off x="5111655" y="475150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3" name="TextBox 172"/>
          <p:cNvSpPr txBox="1"/>
          <p:nvPr/>
        </p:nvSpPr>
        <p:spPr>
          <a:xfrm>
            <a:off x="786591" y="476014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4" name="TextBox 173"/>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5" name="TextBox 174"/>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6" name="TextBox 175"/>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7" name="TextBox 176"/>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3" name="TextBox 142"/>
          <p:cNvSpPr txBox="1"/>
          <p:nvPr/>
        </p:nvSpPr>
        <p:spPr>
          <a:xfrm>
            <a:off x="1925534" y="352738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9.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5" name="TextBox 144"/>
          <p:cNvSpPr txBox="1"/>
          <p:nvPr/>
        </p:nvSpPr>
        <p:spPr>
          <a:xfrm>
            <a:off x="1749907" y="468914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5.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6" name="TextBox 145"/>
          <p:cNvSpPr txBox="1"/>
          <p:nvPr/>
        </p:nvSpPr>
        <p:spPr>
          <a:xfrm>
            <a:off x="6095338" y="469830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5.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7" name="TextBox 146"/>
          <p:cNvSpPr txBox="1"/>
          <p:nvPr/>
        </p:nvSpPr>
        <p:spPr>
          <a:xfrm>
            <a:off x="6267734" y="352738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9.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 name="표 1"/>
          <p:cNvGraphicFramePr>
            <a:graphicFrameLocks noGrp="1"/>
          </p:cNvGraphicFramePr>
          <p:nvPr>
            <p:extLst>
              <p:ext uri="{D42A27DB-BD31-4B8C-83A1-F6EECF244321}">
                <p14:modId xmlns:p14="http://schemas.microsoft.com/office/powerpoint/2010/main" val="3457577476"/>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94601857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모서리가 둥근 직사각형 6"/>
          <p:cNvSpPr/>
          <p:nvPr/>
        </p:nvSpPr>
        <p:spPr>
          <a:xfrm>
            <a:off x="5650639" y="3284984"/>
            <a:ext cx="2152196" cy="576064"/>
          </a:xfrm>
          <a:prstGeom prst="roundRect">
            <a:avLst/>
          </a:prstGeom>
          <a:pattFill prst="lgGrid">
            <a:fgClr>
              <a:srgbClr val="F0F8FA"/>
            </a:fgClr>
            <a:bgClr>
              <a:schemeClr val="bg1"/>
            </a:bgClr>
          </a:pattFill>
          <a:ln w="38100">
            <a:solidFill>
              <a:srgbClr val="3333FF"/>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7" name="모서리가 둥근 직사각형 86"/>
          <p:cNvSpPr/>
          <p:nvPr/>
        </p:nvSpPr>
        <p:spPr>
          <a:xfrm>
            <a:off x="5650639" y="4204134"/>
            <a:ext cx="2152196" cy="576064"/>
          </a:xfrm>
          <a:prstGeom prst="roundRect">
            <a:avLst/>
          </a:prstGeom>
          <a:pattFill prst="lgGrid">
            <a:fgClr>
              <a:srgbClr val="F0F8FA"/>
            </a:fgClr>
            <a:bgClr>
              <a:schemeClr val="bg1"/>
            </a:bgClr>
          </a:pattFill>
          <a:ln w="38100">
            <a:solidFill>
              <a:srgbClr val="3333FF"/>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8" name="모서리가 둥근 직사각형 87"/>
          <p:cNvSpPr/>
          <p:nvPr/>
        </p:nvSpPr>
        <p:spPr>
          <a:xfrm>
            <a:off x="5650639" y="4869160"/>
            <a:ext cx="2152196" cy="576064"/>
          </a:xfrm>
          <a:prstGeom prst="roundRect">
            <a:avLst/>
          </a:prstGeom>
          <a:pattFill prst="lgGrid">
            <a:fgClr>
              <a:srgbClr val="FFEFEF"/>
            </a:fgClr>
            <a:bgClr>
              <a:schemeClr val="bg1"/>
            </a:bgClr>
          </a:patt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9" name="모서리가 둥근 직사각형 88"/>
          <p:cNvSpPr/>
          <p:nvPr/>
        </p:nvSpPr>
        <p:spPr>
          <a:xfrm>
            <a:off x="5650639" y="5805264"/>
            <a:ext cx="2152196" cy="576064"/>
          </a:xfrm>
          <a:prstGeom prst="roundRect">
            <a:avLst/>
          </a:prstGeom>
          <a:pattFill prst="lgGrid">
            <a:fgClr>
              <a:srgbClr val="FFEFEF"/>
            </a:fgClr>
            <a:bgClr>
              <a:schemeClr val="bg1"/>
            </a:bgClr>
          </a:patt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6" name="모서리가 둥근 사각형 설명선 5"/>
          <p:cNvSpPr/>
          <p:nvPr/>
        </p:nvSpPr>
        <p:spPr>
          <a:xfrm>
            <a:off x="250281" y="3335033"/>
            <a:ext cx="1333386" cy="1015946"/>
          </a:xfrm>
          <a:prstGeom prst="wedgeRoundRectCallout">
            <a:avLst>
              <a:gd name="adj1" fmla="val 1044"/>
              <a:gd name="adj2" fmla="val 62162"/>
              <a:gd name="adj3" fmla="val 16667"/>
            </a:avLst>
          </a:prstGeom>
          <a:pattFill prst="wdUpDiag">
            <a:fgClr>
              <a:schemeClr val="bg1">
                <a:lumMod val="95000"/>
              </a:schemeClr>
            </a:fgClr>
            <a:bgClr>
              <a:schemeClr val="bg1"/>
            </a:bgClr>
          </a:patt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분석 대상 지역 및 기간 구분</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분석</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목적에 따라</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복수의 지역 구분과 기간 구분을 복합적으로 활용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en-US" altLang="ko-KR" smtClean="0"/>
              <a:t>     </a:t>
            </a:r>
            <a:r>
              <a:rPr lang="ko-KR" altLang="en-US" smtClean="0"/>
              <a:t>분석 개요</a:t>
            </a:r>
            <a:endParaRPr lang="ko-KR" altLang="en-US"/>
          </a:p>
        </p:txBody>
      </p:sp>
      <p:sp>
        <p:nvSpPr>
          <p:cNvPr id="34" name="직사각형 33"/>
          <p:cNvSpPr/>
          <p:nvPr/>
        </p:nvSpPr>
        <p:spPr>
          <a:xfrm>
            <a:off x="413972"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도</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시</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행정동</a:t>
            </a:r>
            <a:r>
              <a:rPr lang="ko-KR" altLang="en-US" sz="1600">
                <a:solidFill>
                  <a:srgbClr val="000000"/>
                </a:solidFill>
                <a:latin typeface="NOVA Bold" panose="00000800000000000000" pitchFamily="2" charset="-127"/>
                <a:ea typeface="NOVA Bold" panose="00000800000000000000" pitchFamily="2" charset="-127"/>
                <a:sym typeface="Wingdings 2"/>
              </a:rPr>
              <a:t>읍면</a:t>
            </a:r>
            <a:r>
              <a:rPr lang="en-US" altLang="ko-KR" sz="1600">
                <a:solidFill>
                  <a:srgbClr val="000000"/>
                </a:solidFill>
                <a:latin typeface="NOVA Bold" panose="00000800000000000000" pitchFamily="2" charset="-127"/>
                <a:ea typeface="NOVA Bold" panose="00000800000000000000" pitchFamily="2" charset="-127"/>
                <a:sym typeface="Wingdings 2"/>
              </a:rPr>
              <a:t>-</a:t>
            </a:r>
            <a:r>
              <a:rPr lang="ko-KR" altLang="en-US" sz="1600">
                <a:solidFill>
                  <a:srgbClr val="000000"/>
                </a:solidFill>
                <a:latin typeface="NOVA Bold" panose="00000800000000000000" pitchFamily="2" charset="-127"/>
                <a:ea typeface="NOVA Bold" panose="00000800000000000000" pitchFamily="2" charset="-127"/>
                <a:sym typeface="Wingdings 2"/>
              </a:rPr>
              <a:t>우편번호</a:t>
            </a:r>
            <a:r>
              <a:rPr lang="en-US" altLang="ko-KR" sz="1600">
                <a:solidFill>
                  <a:srgbClr val="000000"/>
                </a:solidFill>
                <a:latin typeface="NOVA Bold" panose="00000800000000000000" pitchFamily="2" charset="-127"/>
                <a:ea typeface="NOVA Bold" panose="00000800000000000000" pitchFamily="2" charset="-127"/>
                <a:sym typeface="Wingdings 2"/>
              </a:rPr>
              <a:t>-</a:t>
            </a:r>
            <a:r>
              <a:rPr lang="ko-KR" altLang="en-US" sz="1600">
                <a:solidFill>
                  <a:srgbClr val="000000"/>
                </a:solidFill>
                <a:latin typeface="NOVA Bold" panose="00000800000000000000" pitchFamily="2" charset="-127"/>
                <a:ea typeface="NOVA Bold" panose="00000800000000000000" pitchFamily="2" charset="-127"/>
                <a:sym typeface="Wingdings 2"/>
              </a:rPr>
              <a:t>매장</a:t>
            </a:r>
            <a:r>
              <a:rPr lang="en-US" altLang="ko-KR" sz="1600">
                <a:solidFill>
                  <a:srgbClr val="000000"/>
                </a:solidFill>
                <a:latin typeface="NOVA Bold" panose="00000800000000000000" pitchFamily="2" charset="-127"/>
                <a:ea typeface="NOVA Bold" panose="00000800000000000000" pitchFamily="2" charset="-127"/>
                <a:sym typeface="Wingdings 2"/>
              </a:rPr>
              <a:t>”</a:t>
            </a:r>
            <a:endParaRPr lang="ko-KR" altLang="en-US" sz="1600">
              <a:solidFill>
                <a:srgbClr val="000000"/>
              </a:solidFill>
              <a:latin typeface="NOVA Bold" panose="00000800000000000000" pitchFamily="2" charset="-127"/>
              <a:ea typeface="NOVA Bold" panose="00000800000000000000" pitchFamily="2" charset="-127"/>
            </a:endParaRPr>
          </a:p>
        </p:txBody>
      </p:sp>
      <p:sp>
        <p:nvSpPr>
          <p:cNvPr id="35" name="직사각형 34"/>
          <p:cNvSpPr/>
          <p:nvPr/>
        </p:nvSpPr>
        <p:spPr>
          <a:xfrm>
            <a:off x="4780961"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년</a:t>
            </a: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반기</a:t>
            </a: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분기</a:t>
            </a: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월</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b="1" spc="-50">
                <a:solidFill>
                  <a:srgbClr val="000000"/>
                </a:solidFill>
                <a:latin typeface="NOVA Bold" panose="00000800000000000000" pitchFamily="2" charset="-127"/>
                <a:ea typeface="NOVA Bold" panose="00000800000000000000" pitchFamily="2" charset="-127"/>
              </a:rPr>
              <a:t>中</a:t>
            </a:r>
            <a:endParaRPr lang="en-US" altLang="ko-KR" sz="1600" b="1" spc="-50">
              <a:solidFill>
                <a:srgbClr val="000000"/>
              </a:solidFill>
              <a:latin typeface="NOVA Bold" panose="00000800000000000000" pitchFamily="2" charset="-127"/>
              <a:ea typeface="NOVA Bold" panose="00000800000000000000" pitchFamily="2" charset="-127"/>
            </a:endParaRPr>
          </a:p>
          <a:p>
            <a:pPr algn="ctr" latinLnBrk="0">
              <a:lnSpc>
                <a:spcPct val="120000"/>
              </a:lnSpc>
            </a:pPr>
            <a:r>
              <a:rPr lang="ko-KR" altLang="en-US" sz="1600" spc="-50">
                <a:solidFill>
                  <a:srgbClr val="000000"/>
                </a:solidFill>
                <a:latin typeface="NOVA Bold" panose="00000800000000000000" pitchFamily="2" charset="-127"/>
                <a:ea typeface="NOVA Bold" panose="00000800000000000000" pitchFamily="2" charset="-127"/>
              </a:rPr>
              <a:t>주로 년</a:t>
            </a:r>
            <a:r>
              <a:rPr lang="en-US" altLang="ko-KR" sz="1200" spc="-50">
                <a:solidFill>
                  <a:srgbClr val="000000"/>
                </a:solidFill>
                <a:latin typeface="NOVA Bold" panose="00000800000000000000" pitchFamily="2" charset="-127"/>
                <a:ea typeface="NOVA Bold" panose="00000800000000000000" pitchFamily="2" charset="-127"/>
              </a:rPr>
              <a:t>(Y1, Y2)</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spc="-50">
                <a:solidFill>
                  <a:srgbClr val="000000"/>
                </a:solidFill>
                <a:latin typeface="NOVA Bold" panose="00000800000000000000" pitchFamily="2" charset="-127"/>
                <a:ea typeface="NOVA Bold" panose="00000800000000000000" pitchFamily="2" charset="-127"/>
              </a:rPr>
              <a:t>반기</a:t>
            </a:r>
            <a:r>
              <a:rPr lang="en-US" altLang="ko-KR" sz="1200" spc="-50">
                <a:solidFill>
                  <a:srgbClr val="000000"/>
                </a:solidFill>
                <a:latin typeface="NOVA Bold" panose="00000800000000000000" pitchFamily="2" charset="-127"/>
                <a:ea typeface="NOVA Bold" panose="00000800000000000000" pitchFamily="2" charset="-127"/>
              </a:rPr>
              <a:t>(H1~H4)</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spc="-50">
                <a:solidFill>
                  <a:srgbClr val="000000"/>
                </a:solidFill>
                <a:latin typeface="NOVA Bold" panose="00000800000000000000" pitchFamily="2" charset="-127"/>
                <a:ea typeface="NOVA Bold" panose="00000800000000000000" pitchFamily="2" charset="-127"/>
              </a:rPr>
              <a:t>분기</a:t>
            </a:r>
            <a:r>
              <a:rPr lang="en-US" altLang="ko-KR" sz="1200" spc="-50">
                <a:solidFill>
                  <a:srgbClr val="000000"/>
                </a:solidFill>
                <a:latin typeface="NOVA Bold" panose="00000800000000000000" pitchFamily="2" charset="-127"/>
                <a:ea typeface="NOVA Bold" panose="00000800000000000000" pitchFamily="2" charset="-127"/>
              </a:rPr>
              <a:t>(Q1~Q8)</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spc="-50">
                <a:solidFill>
                  <a:srgbClr val="000000"/>
                </a:solidFill>
                <a:latin typeface="NOVA Bold" panose="00000800000000000000" pitchFamily="2" charset="-127"/>
                <a:ea typeface="NOVA Bold" panose="00000800000000000000" pitchFamily="2" charset="-127"/>
              </a:rPr>
              <a:t>사용</a:t>
            </a:r>
          </a:p>
        </p:txBody>
      </p:sp>
      <p:grpSp>
        <p:nvGrpSpPr>
          <p:cNvPr id="109" name="그룹 108"/>
          <p:cNvGrpSpPr/>
          <p:nvPr/>
        </p:nvGrpSpPr>
        <p:grpSpPr>
          <a:xfrm>
            <a:off x="1265751" y="3395107"/>
            <a:ext cx="3029374" cy="2554173"/>
            <a:chOff x="5485642" y="3910511"/>
            <a:chExt cx="3147838" cy="2554173"/>
          </a:xfrm>
        </p:grpSpPr>
        <p:sp>
          <p:nvSpPr>
            <p:cNvPr id="110" name="Freeform 3"/>
            <p:cNvSpPr/>
            <p:nvPr/>
          </p:nvSpPr>
          <p:spPr bwMode="auto">
            <a:xfrm>
              <a:off x="6979266" y="3910511"/>
              <a:ext cx="1654214" cy="2554173"/>
            </a:xfrm>
            <a:custGeom>
              <a:avLst/>
              <a:gdLst>
                <a:gd name="T0" fmla="*/ 268 w 1857"/>
                <a:gd name="T1" fmla="*/ 1249 h 2707"/>
                <a:gd name="T2" fmla="*/ 0 w 1857"/>
                <a:gd name="T3" fmla="*/ 0 h 2707"/>
                <a:gd name="T4" fmla="*/ 730 w 1857"/>
                <a:gd name="T5" fmla="*/ 1000 h 2707"/>
                <a:gd name="T6" fmla="*/ 268 w 1857"/>
                <a:gd name="T7" fmla="*/ 1249 h 2707"/>
                <a:gd name="T8" fmla="*/ 0 60000 65536"/>
                <a:gd name="T9" fmla="*/ 0 60000 65536"/>
                <a:gd name="T10" fmla="*/ 0 60000 65536"/>
                <a:gd name="T11" fmla="*/ 0 60000 65536"/>
                <a:gd name="T12" fmla="*/ 0 w 1857"/>
                <a:gd name="T13" fmla="*/ 0 h 2707"/>
                <a:gd name="T14" fmla="*/ 1857 w 1857"/>
                <a:gd name="T15" fmla="*/ 2707 h 2707"/>
              </a:gdLst>
              <a:ahLst/>
              <a:cxnLst>
                <a:cxn ang="T8">
                  <a:pos x="T0" y="T1"/>
                </a:cxn>
                <a:cxn ang="T9">
                  <a:pos x="T2" y="T3"/>
                </a:cxn>
                <a:cxn ang="T10">
                  <a:pos x="T4" y="T5"/>
                </a:cxn>
                <a:cxn ang="T11">
                  <a:pos x="T6" y="T7"/>
                </a:cxn>
              </a:cxnLst>
              <a:rect l="T12" t="T13" r="T14" b="T15"/>
              <a:pathLst>
                <a:path w="1857" h="2707">
                  <a:moveTo>
                    <a:pt x="681" y="2707"/>
                  </a:moveTo>
                  <a:lnTo>
                    <a:pt x="0" y="0"/>
                  </a:lnTo>
                  <a:lnTo>
                    <a:pt x="1857" y="2167"/>
                  </a:lnTo>
                  <a:lnTo>
                    <a:pt x="681" y="2707"/>
                  </a:lnTo>
                  <a:close/>
                </a:path>
              </a:pathLst>
            </a:custGeom>
            <a:solidFill>
              <a:srgbClr val="B9B9B9"/>
            </a:solidFill>
            <a:ln w="12700">
              <a:solidFill>
                <a:schemeClr val="tx2"/>
              </a:solidFill>
              <a:round/>
            </a:ln>
          </p:spPr>
          <p:txBody>
            <a:bodyPr lIns="129600" tIns="129600" rIns="129600" bIns="12960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1" name="Freeform 4"/>
            <p:cNvSpPr/>
            <p:nvPr/>
          </p:nvSpPr>
          <p:spPr bwMode="auto">
            <a:xfrm>
              <a:off x="5485642" y="3910511"/>
              <a:ext cx="2101875" cy="2554173"/>
            </a:xfrm>
            <a:custGeom>
              <a:avLst/>
              <a:gdLst>
                <a:gd name="T0" fmla="*/ 0 w 1854"/>
                <a:gd name="T1" fmla="*/ 1074 h 2707"/>
                <a:gd name="T2" fmla="*/ 838 w 1854"/>
                <a:gd name="T3" fmla="*/ 0 h 2707"/>
                <a:gd name="T4" fmla="*/ 1180 w 1854"/>
                <a:gd name="T5" fmla="*/ 1249 h 2707"/>
                <a:gd name="T6" fmla="*/ 0 w 1854"/>
                <a:gd name="T7" fmla="*/ 1074 h 2707"/>
                <a:gd name="T8" fmla="*/ 0 60000 65536"/>
                <a:gd name="T9" fmla="*/ 0 60000 65536"/>
                <a:gd name="T10" fmla="*/ 0 60000 65536"/>
                <a:gd name="T11" fmla="*/ 0 60000 65536"/>
                <a:gd name="T12" fmla="*/ 0 w 1854"/>
                <a:gd name="T13" fmla="*/ 0 h 2707"/>
                <a:gd name="T14" fmla="*/ 1854 w 1854"/>
                <a:gd name="T15" fmla="*/ 2707 h 2707"/>
              </a:gdLst>
              <a:ahLst/>
              <a:cxnLst>
                <a:cxn ang="T8">
                  <a:pos x="T0" y="T1"/>
                </a:cxn>
                <a:cxn ang="T9">
                  <a:pos x="T2" y="T3"/>
                </a:cxn>
                <a:cxn ang="T10">
                  <a:pos x="T4" y="T5"/>
                </a:cxn>
                <a:cxn ang="T11">
                  <a:pos x="T6" y="T7"/>
                </a:cxn>
              </a:cxnLst>
              <a:rect l="T12" t="T13" r="T14" b="T15"/>
              <a:pathLst>
                <a:path w="1853" h="2707">
                  <a:moveTo>
                    <a:pt x="0" y="2327"/>
                  </a:moveTo>
                  <a:lnTo>
                    <a:pt x="1318" y="0"/>
                  </a:lnTo>
                  <a:lnTo>
                    <a:pt x="1854" y="2707"/>
                  </a:lnTo>
                  <a:lnTo>
                    <a:pt x="0" y="2327"/>
                  </a:lnTo>
                  <a:close/>
                </a:path>
              </a:pathLst>
            </a:custGeom>
            <a:solidFill>
              <a:srgbClr val="DCDCDC"/>
            </a:solidFill>
            <a:ln w="12700">
              <a:solidFill>
                <a:schemeClr val="tx2"/>
              </a:solidFill>
              <a:round/>
            </a:ln>
          </p:spPr>
          <p:txBody>
            <a:bodyPr lIns="129600" tIns="129600" rIns="129600" bIns="12960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2" name="Line 5"/>
            <p:cNvSpPr>
              <a:spLocks noChangeShapeType="1"/>
            </p:cNvSpPr>
            <p:nvPr/>
          </p:nvSpPr>
          <p:spPr bwMode="auto">
            <a:xfrm>
              <a:off x="5715868" y="5767460"/>
              <a:ext cx="1773590" cy="301390"/>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3" name="Line 6"/>
            <p:cNvSpPr>
              <a:spLocks noChangeShapeType="1"/>
            </p:cNvSpPr>
            <p:nvPr/>
          </p:nvSpPr>
          <p:spPr bwMode="auto">
            <a:xfrm>
              <a:off x="5971674" y="5398015"/>
              <a:ext cx="1422567" cy="240278"/>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4" name="Line 7"/>
            <p:cNvSpPr>
              <a:spLocks noChangeShapeType="1"/>
            </p:cNvSpPr>
            <p:nvPr/>
          </p:nvSpPr>
          <p:spPr bwMode="auto">
            <a:xfrm>
              <a:off x="6206163" y="5038292"/>
              <a:ext cx="1088598" cy="183334"/>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5" name="Line 8"/>
            <p:cNvSpPr>
              <a:spLocks noChangeShapeType="1"/>
            </p:cNvSpPr>
            <p:nvPr/>
          </p:nvSpPr>
          <p:spPr bwMode="auto">
            <a:xfrm>
              <a:off x="6483286" y="4629957"/>
              <a:ext cx="694940" cy="116667"/>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6" name="Line 12"/>
            <p:cNvSpPr>
              <a:spLocks noChangeShapeType="1"/>
            </p:cNvSpPr>
            <p:nvPr/>
          </p:nvSpPr>
          <p:spPr bwMode="auto">
            <a:xfrm flipV="1">
              <a:off x="7492300" y="5632737"/>
              <a:ext cx="881110" cy="429168"/>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7" name="Line 13"/>
            <p:cNvSpPr>
              <a:spLocks noChangeShapeType="1"/>
            </p:cNvSpPr>
            <p:nvPr/>
          </p:nvSpPr>
          <p:spPr bwMode="auto">
            <a:xfrm flipV="1">
              <a:off x="7388556" y="5293848"/>
              <a:ext cx="703467" cy="344445"/>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8" name="Line 14"/>
            <p:cNvSpPr>
              <a:spLocks noChangeShapeType="1"/>
            </p:cNvSpPr>
            <p:nvPr/>
          </p:nvSpPr>
          <p:spPr bwMode="auto">
            <a:xfrm flipV="1">
              <a:off x="7294761" y="4957736"/>
              <a:ext cx="537193" cy="263890"/>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9" name="Line 15"/>
            <p:cNvSpPr>
              <a:spLocks noChangeShapeType="1"/>
            </p:cNvSpPr>
            <p:nvPr/>
          </p:nvSpPr>
          <p:spPr bwMode="auto">
            <a:xfrm flipV="1">
              <a:off x="7182490" y="4582735"/>
              <a:ext cx="336812" cy="163889"/>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20" name="Rectangle 17"/>
            <p:cNvSpPr>
              <a:spLocks noChangeArrowheads="1"/>
            </p:cNvSpPr>
            <p:nvPr/>
          </p:nvSpPr>
          <p:spPr bwMode="auto">
            <a:xfrm rot="527422">
              <a:off x="6114686" y="5616958"/>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511</a:t>
              </a:r>
            </a:p>
          </p:txBody>
        </p:sp>
        <p:sp>
          <p:nvSpPr>
            <p:cNvPr id="121" name="Rectangle 18"/>
            <p:cNvSpPr>
              <a:spLocks noChangeArrowheads="1"/>
            </p:cNvSpPr>
            <p:nvPr/>
          </p:nvSpPr>
          <p:spPr bwMode="auto">
            <a:xfrm rot="527422">
              <a:off x="6044339" y="6020751"/>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29,954</a:t>
              </a:r>
            </a:p>
          </p:txBody>
        </p:sp>
        <p:sp>
          <p:nvSpPr>
            <p:cNvPr id="122" name="Rectangle 19"/>
            <p:cNvSpPr>
              <a:spLocks noChangeArrowheads="1"/>
            </p:cNvSpPr>
            <p:nvPr/>
          </p:nvSpPr>
          <p:spPr bwMode="auto">
            <a:xfrm rot="527422">
              <a:off x="6185033" y="5213166"/>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43</a:t>
              </a:r>
            </a:p>
          </p:txBody>
        </p:sp>
        <p:sp>
          <p:nvSpPr>
            <p:cNvPr id="123" name="Rectangle 22"/>
            <p:cNvSpPr>
              <a:spLocks noChangeArrowheads="1"/>
            </p:cNvSpPr>
            <p:nvPr/>
          </p:nvSpPr>
          <p:spPr bwMode="auto">
            <a:xfrm rot="527422">
              <a:off x="6255380" y="4809375"/>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2</a:t>
              </a:r>
            </a:p>
          </p:txBody>
        </p:sp>
        <p:sp>
          <p:nvSpPr>
            <p:cNvPr id="124" name="Rectangle 23"/>
            <p:cNvSpPr>
              <a:spLocks noChangeArrowheads="1"/>
            </p:cNvSpPr>
            <p:nvPr/>
          </p:nvSpPr>
          <p:spPr bwMode="auto">
            <a:xfrm rot="527422">
              <a:off x="6325727" y="4405583"/>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1</a:t>
              </a:r>
            </a:p>
          </p:txBody>
        </p:sp>
      </p:grpSp>
      <p:sp>
        <p:nvSpPr>
          <p:cNvPr id="125" name="TextBox 124"/>
          <p:cNvSpPr txBox="1"/>
          <p:nvPr/>
        </p:nvSpPr>
        <p:spPr>
          <a:xfrm>
            <a:off x="1459243" y="3777692"/>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도</a:t>
            </a:r>
          </a:p>
        </p:txBody>
      </p:sp>
      <p:sp>
        <p:nvSpPr>
          <p:cNvPr id="126" name="TextBox 125"/>
          <p:cNvSpPr txBox="1"/>
          <p:nvPr/>
        </p:nvSpPr>
        <p:spPr>
          <a:xfrm>
            <a:off x="1211319" y="4148219"/>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시</a:t>
            </a:r>
          </a:p>
        </p:txBody>
      </p:sp>
      <p:sp>
        <p:nvSpPr>
          <p:cNvPr id="127" name="TextBox 126"/>
          <p:cNvSpPr txBox="1"/>
          <p:nvPr/>
        </p:nvSpPr>
        <p:spPr>
          <a:xfrm>
            <a:off x="737701" y="4518746"/>
            <a:ext cx="1152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행정동</a:t>
            </a:r>
            <a:r>
              <a:rPr lang="ko-KR" altLang="en-US" sz="1300">
                <a:solidFill>
                  <a:srgbClr val="000000"/>
                </a:solidFill>
                <a:latin typeface="NOVA ExtraBold" panose="00000800000000000000" pitchFamily="2" charset="-127"/>
                <a:ea typeface="NOVA ExtraBold" panose="00000800000000000000" pitchFamily="2" charset="-127"/>
                <a:sym typeface="Wingdings 2"/>
              </a:rPr>
              <a:t>읍면</a:t>
            </a:r>
            <a:r>
              <a:rPr lang="ko-KR" altLang="en-US" sz="1300" baseline="30000">
                <a:solidFill>
                  <a:srgbClr val="000000"/>
                </a:solidFill>
                <a:latin typeface="NOVA ExtraBold" panose="00000800000000000000" pitchFamily="2" charset="-127"/>
                <a:ea typeface="NOVA ExtraBold" panose="00000800000000000000" pitchFamily="2" charset="-127"/>
                <a:sym typeface="Wingdings 2"/>
              </a:rPr>
              <a:t>주</a:t>
            </a:r>
            <a:r>
              <a:rPr lang="en-US" altLang="ko-KR" sz="1300" baseline="30000">
                <a:solidFill>
                  <a:srgbClr val="000000"/>
                </a:solidFill>
                <a:latin typeface="NOVA ExtraBold" panose="00000800000000000000" pitchFamily="2" charset="-127"/>
                <a:ea typeface="NOVA ExtraBold" panose="00000800000000000000" pitchFamily="2" charset="-127"/>
                <a:sym typeface="Wingdings 2"/>
              </a:rPr>
              <a:t>1)</a:t>
            </a:r>
            <a:endParaRPr lang="ko-KR" altLang="en-US" sz="1300" baseline="30000">
              <a:solidFill>
                <a:srgbClr val="000000"/>
              </a:solidFill>
              <a:latin typeface="NOVA ExtraBold" panose="00000800000000000000" pitchFamily="2" charset="-127"/>
              <a:ea typeface="NOVA ExtraBold" panose="00000800000000000000" pitchFamily="2" charset="-127"/>
            </a:endParaRPr>
          </a:p>
        </p:txBody>
      </p:sp>
      <p:sp>
        <p:nvSpPr>
          <p:cNvPr id="128" name="TextBox 127"/>
          <p:cNvSpPr txBox="1"/>
          <p:nvPr/>
        </p:nvSpPr>
        <p:spPr>
          <a:xfrm>
            <a:off x="629805" y="4889273"/>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우편번호</a:t>
            </a:r>
          </a:p>
        </p:txBody>
      </p:sp>
      <p:sp>
        <p:nvSpPr>
          <p:cNvPr id="129" name="TextBox 128"/>
          <p:cNvSpPr txBox="1"/>
          <p:nvPr/>
        </p:nvSpPr>
        <p:spPr>
          <a:xfrm>
            <a:off x="467544" y="5259801"/>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매장</a:t>
            </a:r>
            <a:r>
              <a:rPr lang="ko-KR" altLang="en-US" sz="1300" baseline="30000">
                <a:solidFill>
                  <a:srgbClr val="000000"/>
                </a:solidFill>
                <a:latin typeface="NOVA ExtraBold" panose="00000800000000000000" pitchFamily="2" charset="-127"/>
                <a:ea typeface="NOVA ExtraBold" panose="00000800000000000000" pitchFamily="2" charset="-127"/>
              </a:rPr>
              <a:t>주</a:t>
            </a:r>
            <a:r>
              <a:rPr lang="en-US" altLang="ko-KR" sz="1300" baseline="30000">
                <a:solidFill>
                  <a:srgbClr val="000000"/>
                </a:solidFill>
                <a:latin typeface="NOVA ExtraBold" panose="00000800000000000000" pitchFamily="2" charset="-127"/>
                <a:ea typeface="NOVA ExtraBold" panose="00000800000000000000" pitchFamily="2" charset="-127"/>
              </a:rPr>
              <a:t>2)</a:t>
            </a:r>
            <a:endParaRPr lang="ko-KR" altLang="en-US" sz="1300" baseline="30000">
              <a:solidFill>
                <a:srgbClr val="000000"/>
              </a:solidFill>
              <a:latin typeface="NOVA ExtraBold" panose="00000800000000000000" pitchFamily="2" charset="-127"/>
              <a:ea typeface="NOVA ExtraBold" panose="00000800000000000000" pitchFamily="2" charset="-127"/>
            </a:endParaRPr>
          </a:p>
        </p:txBody>
      </p:sp>
      <p:sp>
        <p:nvSpPr>
          <p:cNvPr id="130" name="TextBox 129"/>
          <p:cNvSpPr txBox="1"/>
          <p:nvPr/>
        </p:nvSpPr>
        <p:spPr>
          <a:xfrm>
            <a:off x="449193" y="6273316"/>
            <a:ext cx="3960000" cy="34111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읍</a:t>
            </a:r>
            <a:r>
              <a:rPr lang="ko-KR" altLang="en-US" sz="900">
                <a:solidFill>
                  <a:srgbClr val="000000"/>
                </a:solidFill>
                <a:sym typeface="Wingdings 2"/>
              </a:rPr>
              <a:t>면 사무소 및 동주민센터 기준 구분  </a:t>
            </a:r>
            <a:r>
              <a:rPr lang="en-US" altLang="ko-KR" sz="900">
                <a:solidFill>
                  <a:srgbClr val="000000"/>
                </a:solidFill>
                <a:sym typeface="Wingdings 2"/>
              </a:rPr>
              <a:t>(</a:t>
            </a:r>
            <a:r>
              <a:rPr lang="ko-KR" altLang="en-US" sz="900">
                <a:solidFill>
                  <a:srgbClr val="000000"/>
                </a:solidFill>
                <a:sym typeface="Wingdings 2"/>
              </a:rPr>
              <a:t>출처 </a:t>
            </a:r>
            <a:r>
              <a:rPr lang="en-US" altLang="ko-KR" sz="900">
                <a:solidFill>
                  <a:srgbClr val="000000"/>
                </a:solidFill>
                <a:sym typeface="Wingdings 2"/>
              </a:rPr>
              <a:t>: </a:t>
            </a:r>
            <a:r>
              <a:rPr lang="ko-KR" altLang="en-US" sz="900">
                <a:solidFill>
                  <a:srgbClr val="000000"/>
                </a:solidFill>
                <a:sym typeface="Wingdings 2"/>
              </a:rPr>
              <a:t>특별자치도 홈페이지</a:t>
            </a:r>
            <a:r>
              <a:rPr lang="en-US" altLang="ko-KR" sz="900">
                <a:solidFill>
                  <a:srgbClr val="000000"/>
                </a:solidFill>
                <a:sym typeface="Wingdings 2"/>
              </a:rPr>
              <a:t>)</a:t>
            </a:r>
          </a:p>
          <a:p>
            <a:pPr defTabSz="975022" latinLnBrk="0">
              <a:lnSpc>
                <a:spcPct val="120000"/>
              </a:lnSpc>
              <a:buClr>
                <a:srgbClr val="000000">
                  <a:lumMod val="65000"/>
                  <a:lumOff val="35000"/>
                </a:srgbClr>
              </a:buClr>
              <a:buSzPct val="60000"/>
            </a:pPr>
            <a:r>
              <a:rPr lang="ko-KR" altLang="en-US" sz="900">
                <a:solidFill>
                  <a:srgbClr val="000000"/>
                </a:solidFill>
                <a:sym typeface="Wingdings 2"/>
              </a:rPr>
              <a:t>주</a:t>
            </a:r>
            <a:r>
              <a:rPr lang="en-US" altLang="ko-KR" sz="900">
                <a:solidFill>
                  <a:srgbClr val="000000"/>
                </a:solidFill>
                <a:sym typeface="Wingdings 2"/>
              </a:rPr>
              <a:t>2) </a:t>
            </a:r>
            <a:r>
              <a:rPr lang="ko-KR" altLang="en-US" sz="900">
                <a:solidFill>
                  <a:srgbClr val="000000"/>
                </a:solidFill>
                <a:sym typeface="Wingdings 2"/>
              </a:rPr>
              <a:t>매장 수는 </a:t>
            </a:r>
            <a:r>
              <a:rPr lang="en-US" altLang="ko-KR" sz="900">
                <a:solidFill>
                  <a:srgbClr val="000000"/>
                </a:solidFill>
                <a:sym typeface="Wingdings 2"/>
              </a:rPr>
              <a:t>’16.8</a:t>
            </a:r>
            <a:r>
              <a:rPr lang="ko-KR" altLang="en-US" sz="900">
                <a:solidFill>
                  <a:srgbClr val="000000"/>
                </a:solidFill>
                <a:sym typeface="Wingdings 2"/>
              </a:rPr>
              <a:t>월 유효 실적 발생 기준</a:t>
            </a:r>
            <a:endParaRPr lang="en-US" altLang="ko-KR" sz="900">
              <a:solidFill>
                <a:srgbClr val="000000"/>
              </a:solidFill>
              <a:sym typeface="Wingdings 2"/>
            </a:endParaRPr>
          </a:p>
        </p:txBody>
      </p:sp>
      <p:sp>
        <p:nvSpPr>
          <p:cNvPr id="131" name="TextBox 130"/>
          <p:cNvSpPr txBox="1"/>
          <p:nvPr/>
        </p:nvSpPr>
        <p:spPr>
          <a:xfrm>
            <a:off x="3518553" y="3284984"/>
            <a:ext cx="791597"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000">
                <a:solidFill>
                  <a:srgbClr val="000000"/>
                </a:solidFill>
              </a:rPr>
              <a:t>(</a:t>
            </a:r>
            <a:r>
              <a:rPr lang="ko-KR" altLang="en-US" sz="1000">
                <a:solidFill>
                  <a:srgbClr val="000000"/>
                </a:solidFill>
              </a:rPr>
              <a:t>단위</a:t>
            </a:r>
            <a:r>
              <a:rPr lang="en-US" altLang="ko-KR" sz="1000">
                <a:solidFill>
                  <a:srgbClr val="000000"/>
                </a:solidFill>
              </a:rPr>
              <a:t> : </a:t>
            </a:r>
            <a:r>
              <a:rPr lang="ko-KR" altLang="en-US" sz="1000">
                <a:solidFill>
                  <a:srgbClr val="000000"/>
                </a:solidFill>
              </a:rPr>
              <a:t>개</a:t>
            </a:r>
            <a:r>
              <a:rPr lang="en-US" altLang="ko-KR" sz="1000">
                <a:solidFill>
                  <a:srgbClr val="000000"/>
                </a:solidFill>
              </a:rPr>
              <a:t>)</a:t>
            </a:r>
            <a:endParaRPr lang="ko-KR" altLang="en-US" sz="1000">
              <a:solidFill>
                <a:srgbClr val="000000"/>
              </a:solidFill>
            </a:endParaRPr>
          </a:p>
        </p:txBody>
      </p:sp>
      <p:sp>
        <p:nvSpPr>
          <p:cNvPr id="132" name="TextBox 131"/>
          <p:cNvSpPr txBox="1"/>
          <p:nvPr/>
        </p:nvSpPr>
        <p:spPr>
          <a:xfrm>
            <a:off x="4716416"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기간 구분</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133" name="TextBox 132"/>
          <p:cNvSpPr txBox="1"/>
          <p:nvPr/>
        </p:nvSpPr>
        <p:spPr>
          <a:xfrm>
            <a:off x="359972"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지역 구분</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5" name="TextBox 4"/>
          <p:cNvSpPr txBox="1"/>
          <p:nvPr/>
        </p:nvSpPr>
        <p:spPr>
          <a:xfrm>
            <a:off x="342578" y="3376042"/>
            <a:ext cx="1179027" cy="96180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05000"/>
              </a:lnSpc>
              <a:spcBef>
                <a:spcPts val="400"/>
              </a:spcBef>
              <a:buClr>
                <a:srgbClr val="000000"/>
              </a:buClr>
              <a:buSzTx/>
            </a:pPr>
            <a:r>
              <a:rPr lang="ko-KR" altLang="en-US" sz="1200">
                <a:solidFill>
                  <a:srgbClr val="000000"/>
                </a:solidFill>
                <a:cs typeface="Arial Narrow" pitchFamily="34" charset="0"/>
              </a:rPr>
              <a:t>제주시 도심과</a:t>
            </a:r>
            <a:endParaRPr lang="en-US" altLang="ko-KR" sz="1200">
              <a:solidFill>
                <a:srgbClr val="000000"/>
              </a:solidFill>
              <a:cs typeface="Arial Narrow" pitchFamily="34" charset="0"/>
            </a:endParaRPr>
          </a:p>
          <a:p>
            <a:pPr algn="ctr">
              <a:lnSpc>
                <a:spcPct val="105000"/>
              </a:lnSpc>
              <a:spcBef>
                <a:spcPts val="400"/>
              </a:spcBef>
              <a:buClr>
                <a:srgbClr val="000000"/>
              </a:buClr>
              <a:buSzTx/>
            </a:pPr>
            <a:r>
              <a:rPr lang="ko-KR" altLang="en-US" sz="1200">
                <a:solidFill>
                  <a:srgbClr val="000000"/>
                </a:solidFill>
                <a:cs typeface="Arial Narrow" pitchFamily="34" charset="0"/>
              </a:rPr>
              <a:t>서귀포시 도심으로</a:t>
            </a:r>
            <a:endParaRPr lang="en-US" altLang="ko-KR" sz="1200">
              <a:solidFill>
                <a:srgbClr val="000000"/>
              </a:solidFill>
              <a:cs typeface="Arial Narrow" pitchFamily="34" charset="0"/>
            </a:endParaRPr>
          </a:p>
          <a:p>
            <a:pPr algn="ctr">
              <a:lnSpc>
                <a:spcPct val="105000"/>
              </a:lnSpc>
              <a:spcBef>
                <a:spcPts val="400"/>
              </a:spcBef>
              <a:buClr>
                <a:srgbClr val="000000"/>
              </a:buClr>
              <a:buSzTx/>
            </a:pPr>
            <a:r>
              <a:rPr lang="ko-KR" altLang="en-US" sz="1200">
                <a:solidFill>
                  <a:srgbClr val="000000"/>
                </a:solidFill>
                <a:cs typeface="Arial Narrow" pitchFamily="34" charset="0"/>
              </a:rPr>
              <a:t>통합하여</a:t>
            </a:r>
            <a:endParaRPr lang="en-US" altLang="ko-KR" sz="1200">
              <a:solidFill>
                <a:srgbClr val="000000"/>
              </a:solidFill>
              <a:cs typeface="Arial Narrow" pitchFamily="34" charset="0"/>
            </a:endParaRPr>
          </a:p>
          <a:p>
            <a:pPr algn="ctr">
              <a:lnSpc>
                <a:spcPct val="105000"/>
              </a:lnSpc>
              <a:spcBef>
                <a:spcPts val="400"/>
              </a:spcBef>
              <a:buClr>
                <a:srgbClr val="000000"/>
              </a:buClr>
              <a:buSzTx/>
            </a:pPr>
            <a:r>
              <a:rPr lang="ko-KR" altLang="en-US" sz="1200">
                <a:solidFill>
                  <a:srgbClr val="000000"/>
                </a:solidFill>
                <a:cs typeface="Arial Narrow" pitchFamily="34" charset="0"/>
              </a:rPr>
              <a:t>분석하기도 함</a:t>
            </a:r>
          </a:p>
        </p:txBody>
      </p:sp>
      <p:sp>
        <p:nvSpPr>
          <p:cNvPr id="55" name="모서리가 둥근 직사각형 54"/>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1</a:t>
            </a:r>
            <a:endParaRPr lang="ko-KR" altLang="en-US" sz="1600" b="1">
              <a:solidFill>
                <a:srgbClr val="FFFFFF"/>
              </a:solidFill>
              <a:latin typeface="Arial" pitchFamily="34" charset="0"/>
              <a:cs typeface="Arial" pitchFamily="34" charset="0"/>
            </a:endParaRPr>
          </a:p>
        </p:txBody>
      </p:sp>
      <p:sp>
        <p:nvSpPr>
          <p:cNvPr id="3" name="모서리가 둥근 직사각형 2"/>
          <p:cNvSpPr/>
          <p:nvPr/>
        </p:nvSpPr>
        <p:spPr>
          <a:xfrm>
            <a:off x="728439" y="4492060"/>
            <a:ext cx="504000" cy="252000"/>
          </a:xfrm>
          <a:prstGeom prst="roundRect">
            <a:avLst/>
          </a:pr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 name="원호 7"/>
          <p:cNvSpPr/>
          <p:nvPr/>
        </p:nvSpPr>
        <p:spPr>
          <a:xfrm>
            <a:off x="6837195" y="3675300"/>
            <a:ext cx="1193633" cy="773223"/>
          </a:xfrm>
          <a:prstGeom prst="arc">
            <a:avLst>
              <a:gd name="adj1" fmla="val 16200000"/>
              <a:gd name="adj2" fmla="val 5327615"/>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cxnSp>
        <p:nvCxnSpPr>
          <p:cNvPr id="11" name="직선 연결선 10"/>
          <p:cNvCxnSpPr/>
          <p:nvPr/>
        </p:nvCxnSpPr>
        <p:spPr>
          <a:xfrm flipH="1">
            <a:off x="5258519" y="3675300"/>
            <a:ext cx="2194744"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원호 70"/>
          <p:cNvSpPr/>
          <p:nvPr/>
        </p:nvSpPr>
        <p:spPr>
          <a:xfrm rot="10800000">
            <a:off x="5258520" y="4450074"/>
            <a:ext cx="1193633" cy="773223"/>
          </a:xfrm>
          <a:prstGeom prst="arc">
            <a:avLst>
              <a:gd name="adj1" fmla="val 121831"/>
              <a:gd name="adj2" fmla="val 5327615"/>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cxnSp>
        <p:nvCxnSpPr>
          <p:cNvPr id="72" name="직선 연결선 71"/>
          <p:cNvCxnSpPr/>
          <p:nvPr/>
        </p:nvCxnSpPr>
        <p:spPr>
          <a:xfrm rot="10800000" flipH="1">
            <a:off x="5817623" y="5223298"/>
            <a:ext cx="1728000" cy="0"/>
          </a:xfrm>
          <a:prstGeom prst="line">
            <a:avLst/>
          </a:prstGeom>
          <a:ln w="571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직선 연결선 73"/>
          <p:cNvCxnSpPr/>
          <p:nvPr/>
        </p:nvCxnSpPr>
        <p:spPr>
          <a:xfrm rot="10800000" flipH="1">
            <a:off x="5817623" y="4450074"/>
            <a:ext cx="1728000"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원호 74"/>
          <p:cNvSpPr/>
          <p:nvPr/>
        </p:nvSpPr>
        <p:spPr>
          <a:xfrm>
            <a:off x="6837195" y="5222804"/>
            <a:ext cx="1193633" cy="773223"/>
          </a:xfrm>
          <a:prstGeom prst="arc">
            <a:avLst>
              <a:gd name="adj1" fmla="val 16200000"/>
              <a:gd name="adj2" fmla="val 5327615"/>
            </a:avLst>
          </a:prstGeom>
          <a:ln w="571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cxnSp>
        <p:nvCxnSpPr>
          <p:cNvPr id="76" name="직선 연결선 75"/>
          <p:cNvCxnSpPr>
            <a:endCxn id="82" idx="6"/>
          </p:cNvCxnSpPr>
          <p:nvPr/>
        </p:nvCxnSpPr>
        <p:spPr>
          <a:xfrm flipH="1">
            <a:off x="5324151" y="5996027"/>
            <a:ext cx="2129112" cy="19042"/>
          </a:xfrm>
          <a:prstGeom prst="line">
            <a:avLst/>
          </a:prstGeom>
          <a:ln w="57150">
            <a:solidFill>
              <a:schemeClr val="bg1">
                <a:lumMod val="50000"/>
              </a:schemeClr>
            </a:solidFill>
            <a:prstDash val="sysDot"/>
            <a:tailEnd type="triangle" w="med" len="sm"/>
          </a:ln>
        </p:spPr>
        <p:style>
          <a:lnRef idx="1">
            <a:schemeClr val="accent1"/>
          </a:lnRef>
          <a:fillRef idx="0">
            <a:schemeClr val="accent1"/>
          </a:fillRef>
          <a:effectRef idx="0">
            <a:schemeClr val="accent1"/>
          </a:effectRef>
          <a:fontRef idx="minor">
            <a:schemeClr val="tx1"/>
          </a:fontRef>
        </p:style>
      </p:cxnSp>
      <p:sp>
        <p:nvSpPr>
          <p:cNvPr id="77" name="타원 76"/>
          <p:cNvSpPr/>
          <p:nvPr/>
        </p:nvSpPr>
        <p:spPr>
          <a:xfrm>
            <a:off x="5180151" y="3612334"/>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78" name="TextBox 77"/>
          <p:cNvSpPr txBox="1"/>
          <p:nvPr/>
        </p:nvSpPr>
        <p:spPr>
          <a:xfrm>
            <a:off x="4896036" y="3367735"/>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79" name="타원 78"/>
          <p:cNvSpPr/>
          <p:nvPr/>
        </p:nvSpPr>
        <p:spPr>
          <a:xfrm>
            <a:off x="7958836" y="3987931"/>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0" name="타원 79"/>
          <p:cNvSpPr/>
          <p:nvPr/>
        </p:nvSpPr>
        <p:spPr>
          <a:xfrm>
            <a:off x="7958836" y="5536801"/>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1" name="타원 80"/>
          <p:cNvSpPr/>
          <p:nvPr/>
        </p:nvSpPr>
        <p:spPr>
          <a:xfrm>
            <a:off x="5180151" y="4745412"/>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2" name="타원 81"/>
          <p:cNvSpPr/>
          <p:nvPr/>
        </p:nvSpPr>
        <p:spPr>
          <a:xfrm>
            <a:off x="5180151" y="5943069"/>
            <a:ext cx="144000" cy="144000"/>
          </a:xfrm>
          <a:prstGeom prst="ellipse">
            <a:avLst/>
          </a:prstGeom>
          <a:solidFill>
            <a:schemeClr val="bg1"/>
          </a:solidFill>
          <a:ln w="38100">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3" name="타원 82"/>
          <p:cNvSpPr/>
          <p:nvPr/>
        </p:nvSpPr>
        <p:spPr>
          <a:xfrm>
            <a:off x="6698680" y="5943069"/>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4" name="타원 83"/>
          <p:cNvSpPr/>
          <p:nvPr/>
        </p:nvSpPr>
        <p:spPr>
          <a:xfrm>
            <a:off x="6698680" y="5149583"/>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5" name="타원 84"/>
          <p:cNvSpPr/>
          <p:nvPr/>
        </p:nvSpPr>
        <p:spPr>
          <a:xfrm>
            <a:off x="6698680" y="3600713"/>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6" name="타원 85"/>
          <p:cNvSpPr/>
          <p:nvPr/>
        </p:nvSpPr>
        <p:spPr>
          <a:xfrm>
            <a:off x="6698680" y="4375148"/>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94" name="TextBox 93"/>
          <p:cNvSpPr txBox="1"/>
          <p:nvPr/>
        </p:nvSpPr>
        <p:spPr>
          <a:xfrm>
            <a:off x="6427602" y="3367735"/>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5" name="TextBox 94"/>
          <p:cNvSpPr txBox="1"/>
          <p:nvPr/>
        </p:nvSpPr>
        <p:spPr>
          <a:xfrm>
            <a:off x="8091636" y="3971496"/>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3</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6" name="TextBox 95"/>
          <p:cNvSpPr txBox="1"/>
          <p:nvPr/>
        </p:nvSpPr>
        <p:spPr>
          <a:xfrm>
            <a:off x="8091636" y="5512239"/>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3</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7" name="TextBox 96"/>
          <p:cNvSpPr txBox="1"/>
          <p:nvPr/>
        </p:nvSpPr>
        <p:spPr>
          <a:xfrm>
            <a:off x="6427602" y="4602614"/>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6</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8" name="TextBox 97"/>
          <p:cNvSpPr txBox="1"/>
          <p:nvPr/>
        </p:nvSpPr>
        <p:spPr>
          <a:xfrm>
            <a:off x="6427602" y="4917125"/>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9" name="TextBox 98"/>
          <p:cNvSpPr txBox="1"/>
          <p:nvPr/>
        </p:nvSpPr>
        <p:spPr>
          <a:xfrm>
            <a:off x="5268045" y="4735887"/>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100" name="TextBox 99"/>
          <p:cNvSpPr txBox="1"/>
          <p:nvPr/>
        </p:nvSpPr>
        <p:spPr>
          <a:xfrm>
            <a:off x="4896036" y="6176047"/>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101" name="TextBox 100"/>
          <p:cNvSpPr txBox="1"/>
          <p:nvPr/>
        </p:nvSpPr>
        <p:spPr>
          <a:xfrm>
            <a:off x="6427602" y="6176047"/>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6</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102" name="원호 101"/>
          <p:cNvSpPr/>
          <p:nvPr/>
        </p:nvSpPr>
        <p:spPr>
          <a:xfrm rot="10800000">
            <a:off x="5258520" y="4450075"/>
            <a:ext cx="1193633" cy="773223"/>
          </a:xfrm>
          <a:prstGeom prst="arc">
            <a:avLst>
              <a:gd name="adj1" fmla="val 16200000"/>
              <a:gd name="adj2" fmla="val 21416340"/>
            </a:avLst>
          </a:prstGeom>
          <a:ln w="571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sp>
        <p:nvSpPr>
          <p:cNvPr id="14" name="모서리가 둥근 직사각형 13"/>
          <p:cNvSpPr/>
          <p:nvPr/>
        </p:nvSpPr>
        <p:spPr>
          <a:xfrm>
            <a:off x="5777416" y="3510461"/>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1</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4" name="모서리가 둥근 직사각형 103"/>
          <p:cNvSpPr/>
          <p:nvPr/>
        </p:nvSpPr>
        <p:spPr>
          <a:xfrm>
            <a:off x="7218848" y="3510461"/>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2</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5" name="모서리가 둥근 직사각형 104"/>
          <p:cNvSpPr/>
          <p:nvPr/>
        </p:nvSpPr>
        <p:spPr>
          <a:xfrm>
            <a:off x="7218848" y="4297347"/>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3</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6" name="모서리가 둥근 직사각형 105"/>
          <p:cNvSpPr/>
          <p:nvPr/>
        </p:nvSpPr>
        <p:spPr>
          <a:xfrm>
            <a:off x="5777416" y="4297347"/>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4</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7" name="모서리가 둥근 직사각형 106"/>
          <p:cNvSpPr/>
          <p:nvPr/>
        </p:nvSpPr>
        <p:spPr>
          <a:xfrm>
            <a:off x="5777416" y="5084233"/>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5</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08" name="모서리가 둥근 직사각형 107"/>
          <p:cNvSpPr/>
          <p:nvPr/>
        </p:nvSpPr>
        <p:spPr>
          <a:xfrm>
            <a:off x="7218848" y="5084233"/>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6</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34" name="모서리가 둥근 직사각형 133"/>
          <p:cNvSpPr/>
          <p:nvPr/>
        </p:nvSpPr>
        <p:spPr>
          <a:xfrm>
            <a:off x="7218848" y="5871118"/>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7</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35" name="모서리가 둥근 직사각형 134"/>
          <p:cNvSpPr/>
          <p:nvPr/>
        </p:nvSpPr>
        <p:spPr>
          <a:xfrm>
            <a:off x="5777416" y="5871118"/>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8</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5" name="TextBox 14"/>
          <p:cNvSpPr txBox="1"/>
          <p:nvPr/>
        </p:nvSpPr>
        <p:spPr>
          <a:xfrm>
            <a:off x="7682179" y="3428216"/>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136" name="TextBox 135"/>
          <p:cNvSpPr txBox="1"/>
          <p:nvPr/>
        </p:nvSpPr>
        <p:spPr>
          <a:xfrm>
            <a:off x="6046971" y="5482897"/>
            <a:ext cx="1359532" cy="28469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2000">
                <a:solidFill>
                  <a:srgbClr val="FF0000"/>
                </a:solidFill>
                <a:latin typeface="NOVA ExtraBold" panose="00000800000000000000" pitchFamily="2" charset="-127"/>
                <a:ea typeface="NOVA ExtraBold" panose="00000800000000000000" pitchFamily="2" charset="-127"/>
                <a:cs typeface="Arial Narrow" pitchFamily="34" charset="0"/>
              </a:rPr>
              <a:t>Y2</a:t>
            </a:r>
            <a:endParaRPr lang="ko-KR" altLang="en-US" sz="20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0" name="TextBox 89"/>
          <p:cNvSpPr txBox="1"/>
          <p:nvPr/>
        </p:nvSpPr>
        <p:spPr>
          <a:xfrm>
            <a:off x="6046971" y="3890244"/>
            <a:ext cx="1359532" cy="28469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2000">
                <a:solidFill>
                  <a:srgbClr val="3333FF"/>
                </a:solidFill>
                <a:latin typeface="NOVA ExtraBold" panose="00000800000000000000" pitchFamily="2" charset="-127"/>
                <a:ea typeface="NOVA ExtraBold" panose="00000800000000000000" pitchFamily="2" charset="-127"/>
                <a:cs typeface="Arial Narrow" pitchFamily="34" charset="0"/>
              </a:rPr>
              <a:t>Y1</a:t>
            </a:r>
            <a:endParaRPr lang="ko-KR" altLang="en-US" sz="20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91" name="TextBox 90"/>
          <p:cNvSpPr txBox="1"/>
          <p:nvPr/>
        </p:nvSpPr>
        <p:spPr>
          <a:xfrm>
            <a:off x="7682179" y="4396912"/>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92" name="TextBox 91"/>
          <p:cNvSpPr txBox="1"/>
          <p:nvPr/>
        </p:nvSpPr>
        <p:spPr>
          <a:xfrm>
            <a:off x="7682179" y="5049180"/>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H3</a:t>
            </a:r>
            <a:endParaRPr lang="ko-KR" altLang="en-US">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3" name="TextBox 92"/>
          <p:cNvSpPr txBox="1"/>
          <p:nvPr/>
        </p:nvSpPr>
        <p:spPr>
          <a:xfrm>
            <a:off x="7682179" y="5981088"/>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H4</a:t>
            </a:r>
            <a:endParaRPr lang="ko-KR" altLang="en-US">
              <a:solidFill>
                <a:srgbClr val="FF0000"/>
              </a:solidFill>
              <a:latin typeface="NOVA ExtraBold" panose="00000800000000000000" pitchFamily="2" charset="-127"/>
              <a:ea typeface="NOVA ExtraBold" panose="00000800000000000000" pitchFamily="2" charset="-127"/>
              <a:cs typeface="Arial Narrow" pitchFamily="34" charset="0"/>
            </a:endParaRPr>
          </a:p>
        </p:txBody>
      </p:sp>
    </p:spTree>
    <p:extLst>
      <p:ext uri="{BB962C8B-B14F-4D97-AF65-F5344CB8AC3E}">
        <p14:creationId xmlns:p14="http://schemas.microsoft.com/office/powerpoint/2010/main" val="149078830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12.6</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쇼핑</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식음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소매 순으로 소비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2" name="텍스트 개체 틀 1"/>
          <p:cNvSpPr>
            <a:spLocks noGrp="1"/>
          </p:cNvSpPr>
          <p:nvPr>
            <p:ph type="body" sz="quarter" idx="12"/>
          </p:nvPr>
        </p:nvSpPr>
        <p:spPr>
          <a:xfrm>
            <a:off x="250828" y="516698"/>
            <a:ext cx="8137599" cy="284693"/>
          </a:xfrm>
        </p:spPr>
        <p:txBody>
          <a:bodyPr/>
          <a:lstStyle/>
          <a:p>
            <a:r>
              <a:rPr lang="en-US" altLang="ko-KR" smtClean="0"/>
              <a:t>[</a:t>
            </a:r>
            <a:r>
              <a:rPr lang="ko-KR" altLang="en-US" smtClean="0"/>
              <a:t>단체</a:t>
            </a:r>
            <a:r>
              <a:rPr lang="en-US" altLang="ko-KR" smtClean="0"/>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2</a:t>
            </a:r>
            <a:endParaRPr lang="ko-KR" altLang="en-US" sz="1400" b="1">
              <a:solidFill>
                <a:srgbClr val="FFFFFF"/>
              </a:solidFill>
              <a:latin typeface="Arial" pitchFamily="34" charset="0"/>
              <a:cs typeface="Arial" pitchFamily="34" charset="0"/>
            </a:endParaRPr>
          </a:p>
        </p:txBody>
      </p:sp>
      <p:sp>
        <p:nvSpPr>
          <p:cNvPr id="104" name="모서리가 둥근 직사각형 103"/>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06" name="모서리가 둥근 직사각형 105"/>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07" name="모서리가 둥근 직사각형 106"/>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108" name="모서리가 둥근 직사각형 107"/>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109" name="모서리가 둥근 직사각형 108"/>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110" name="모서리가 둥근 직사각형 109"/>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111" name="모서리가 둥근 직사각형 110"/>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112" name="모서리가 둥근 직사각형 111"/>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113" name="모서리가 둥근 직사각형 112"/>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114" name="직사각형 113"/>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4.3</a:t>
            </a:r>
            <a:r>
              <a:rPr lang="ko-KR" altLang="en-US" sz="1200">
                <a:solidFill>
                  <a:srgbClr val="000000"/>
                </a:solidFill>
              </a:rPr>
              <a:t>만원</a:t>
            </a:r>
          </a:p>
        </p:txBody>
      </p:sp>
      <p:sp>
        <p:nvSpPr>
          <p:cNvPr id="115" name="직사각형 114"/>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3.3</a:t>
            </a:r>
            <a:r>
              <a:rPr lang="ko-KR" altLang="en-US" sz="1200">
                <a:solidFill>
                  <a:srgbClr val="000000"/>
                </a:solidFill>
              </a:rPr>
              <a:t>만원</a:t>
            </a:r>
          </a:p>
        </p:txBody>
      </p:sp>
      <p:sp>
        <p:nvSpPr>
          <p:cNvPr id="116" name="직사각형 115"/>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4.1</a:t>
            </a:r>
            <a:r>
              <a:rPr lang="ko-KR" altLang="en-US" sz="1200">
                <a:solidFill>
                  <a:srgbClr val="000000"/>
                </a:solidFill>
              </a:rPr>
              <a:t>만원</a:t>
            </a:r>
          </a:p>
        </p:txBody>
      </p:sp>
      <p:sp>
        <p:nvSpPr>
          <p:cNvPr id="117" name="직사각형 116"/>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2.6</a:t>
            </a:r>
            <a:r>
              <a:rPr lang="ko-KR" altLang="en-US" sz="1200">
                <a:solidFill>
                  <a:srgbClr val="000000"/>
                </a:solidFill>
              </a:rPr>
              <a:t>만원</a:t>
            </a:r>
          </a:p>
        </p:txBody>
      </p:sp>
      <p:grpSp>
        <p:nvGrpSpPr>
          <p:cNvPr id="122" name="그룹 121"/>
          <p:cNvGrpSpPr/>
          <p:nvPr/>
        </p:nvGrpSpPr>
        <p:grpSpPr>
          <a:xfrm>
            <a:off x="1909289" y="3443939"/>
            <a:ext cx="781200" cy="2957417"/>
            <a:chOff x="1909289" y="3477639"/>
            <a:chExt cx="781200" cy="2957417"/>
          </a:xfrm>
        </p:grpSpPr>
        <p:sp>
          <p:nvSpPr>
            <p:cNvPr id="123" name="직사각형 122"/>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8%</a:t>
              </a:r>
              <a:endParaRPr lang="ko-KR" altLang="en-US" sz="1200">
                <a:solidFill>
                  <a:srgbClr val="000000"/>
                </a:solidFill>
              </a:endParaRPr>
            </a:p>
          </p:txBody>
        </p:sp>
        <p:sp>
          <p:nvSpPr>
            <p:cNvPr id="124" name="직사각형 123"/>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25" name="직사각형 124"/>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26" name="직사각형 125"/>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127" name="직사각형 126"/>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6%</a:t>
              </a:r>
              <a:endParaRPr lang="ko-KR" altLang="en-US" sz="1200">
                <a:solidFill>
                  <a:srgbClr val="000000"/>
                </a:solidFill>
              </a:endParaRPr>
            </a:p>
          </p:txBody>
        </p:sp>
        <p:sp>
          <p:nvSpPr>
            <p:cNvPr id="128" name="직사각형 127"/>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129" name="직사각형 128"/>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30" name="직사각형 129"/>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grpSp>
      <p:grpSp>
        <p:nvGrpSpPr>
          <p:cNvPr id="140" name="그룹 139"/>
          <p:cNvGrpSpPr/>
          <p:nvPr/>
        </p:nvGrpSpPr>
        <p:grpSpPr>
          <a:xfrm>
            <a:off x="2774714" y="3443939"/>
            <a:ext cx="781200" cy="2957417"/>
            <a:chOff x="1909289" y="3477639"/>
            <a:chExt cx="781200" cy="2957417"/>
          </a:xfrm>
        </p:grpSpPr>
        <p:sp>
          <p:nvSpPr>
            <p:cNvPr id="141" name="직사각형 14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sp>
          <p:nvSpPr>
            <p:cNvPr id="142" name="직사각형 14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43" name="직사각형 14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44" name="직사각형 14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6%</a:t>
              </a:r>
              <a:endParaRPr lang="ko-KR" altLang="en-US" sz="1200">
                <a:solidFill>
                  <a:srgbClr val="000000"/>
                </a:solidFill>
              </a:endParaRPr>
            </a:p>
          </p:txBody>
        </p:sp>
        <p:sp>
          <p:nvSpPr>
            <p:cNvPr id="145" name="직사각형 14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7%</a:t>
              </a:r>
              <a:endParaRPr lang="ko-KR" altLang="en-US" sz="1200">
                <a:solidFill>
                  <a:srgbClr val="000000"/>
                </a:solidFill>
              </a:endParaRPr>
            </a:p>
          </p:txBody>
        </p:sp>
        <p:sp>
          <p:nvSpPr>
            <p:cNvPr id="146" name="직사각형 14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5%</a:t>
              </a:r>
              <a:endParaRPr lang="ko-KR" altLang="en-US" sz="1200">
                <a:solidFill>
                  <a:srgbClr val="000000"/>
                </a:solidFill>
              </a:endParaRPr>
            </a:p>
          </p:txBody>
        </p:sp>
        <p:sp>
          <p:nvSpPr>
            <p:cNvPr id="147" name="직사각형 14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48" name="직사각형 14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8%</a:t>
              </a:r>
              <a:endParaRPr lang="ko-KR" altLang="en-US" sz="1200">
                <a:solidFill>
                  <a:srgbClr val="000000"/>
                </a:solidFill>
              </a:endParaRPr>
            </a:p>
          </p:txBody>
        </p:sp>
      </p:grpSp>
      <p:grpSp>
        <p:nvGrpSpPr>
          <p:cNvPr id="149" name="그룹 148"/>
          <p:cNvGrpSpPr/>
          <p:nvPr/>
        </p:nvGrpSpPr>
        <p:grpSpPr>
          <a:xfrm>
            <a:off x="3640139" y="3443939"/>
            <a:ext cx="781200" cy="2957417"/>
            <a:chOff x="1909289" y="3477639"/>
            <a:chExt cx="781200" cy="2957417"/>
          </a:xfrm>
        </p:grpSpPr>
        <p:sp>
          <p:nvSpPr>
            <p:cNvPr id="150" name="직사각형 14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151" name="직사각형 15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52" name="직사각형 15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53" name="직사각형 15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a:t>
              </a:r>
              <a:endParaRPr lang="ko-KR" altLang="en-US" sz="1200">
                <a:solidFill>
                  <a:srgbClr val="000000"/>
                </a:solidFill>
              </a:endParaRPr>
            </a:p>
          </p:txBody>
        </p:sp>
        <p:sp>
          <p:nvSpPr>
            <p:cNvPr id="154" name="직사각형 15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6%</a:t>
              </a:r>
              <a:endParaRPr lang="ko-KR" altLang="en-US" sz="1200">
                <a:solidFill>
                  <a:srgbClr val="000000"/>
                </a:solidFill>
              </a:endParaRPr>
            </a:p>
          </p:txBody>
        </p:sp>
        <p:sp>
          <p:nvSpPr>
            <p:cNvPr id="155" name="직사각형 15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5%</a:t>
              </a:r>
              <a:endParaRPr lang="ko-KR" altLang="en-US" sz="1200">
                <a:solidFill>
                  <a:srgbClr val="000000"/>
                </a:solidFill>
              </a:endParaRPr>
            </a:p>
          </p:txBody>
        </p:sp>
        <p:sp>
          <p:nvSpPr>
            <p:cNvPr id="156" name="직사각형 15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57" name="직사각형 15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3%</a:t>
              </a:r>
              <a:endParaRPr lang="ko-KR" altLang="en-US" sz="1200">
                <a:solidFill>
                  <a:srgbClr val="000000"/>
                </a:solidFill>
              </a:endParaRPr>
            </a:p>
          </p:txBody>
        </p:sp>
      </p:grpSp>
      <p:grpSp>
        <p:nvGrpSpPr>
          <p:cNvPr id="158" name="그룹 157"/>
          <p:cNvGrpSpPr/>
          <p:nvPr/>
        </p:nvGrpSpPr>
        <p:grpSpPr>
          <a:xfrm>
            <a:off x="4505564" y="3443939"/>
            <a:ext cx="781200" cy="2957417"/>
            <a:chOff x="1909289" y="3477639"/>
            <a:chExt cx="781200" cy="2957417"/>
          </a:xfrm>
        </p:grpSpPr>
        <p:sp>
          <p:nvSpPr>
            <p:cNvPr id="159" name="직사각형 15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1%</a:t>
              </a:r>
              <a:endParaRPr lang="ko-KR" altLang="en-US" sz="1200">
                <a:solidFill>
                  <a:srgbClr val="000000"/>
                </a:solidFill>
              </a:endParaRPr>
            </a:p>
          </p:txBody>
        </p:sp>
        <p:sp>
          <p:nvSpPr>
            <p:cNvPr id="160" name="직사각형 15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61" name="직사각형 16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62" name="직사각형 16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a:t>
              </a:r>
              <a:endParaRPr lang="ko-KR" altLang="en-US" sz="1200">
                <a:solidFill>
                  <a:srgbClr val="000000"/>
                </a:solidFill>
              </a:endParaRPr>
            </a:p>
          </p:txBody>
        </p:sp>
        <p:sp>
          <p:nvSpPr>
            <p:cNvPr id="163" name="직사각형 16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7%</a:t>
              </a:r>
              <a:endParaRPr lang="ko-KR" altLang="en-US" sz="1200">
                <a:solidFill>
                  <a:srgbClr val="000000"/>
                </a:solidFill>
              </a:endParaRPr>
            </a:p>
          </p:txBody>
        </p:sp>
        <p:sp>
          <p:nvSpPr>
            <p:cNvPr id="164" name="직사각형 16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4%</a:t>
              </a:r>
              <a:endParaRPr lang="ko-KR" altLang="en-US" sz="1200">
                <a:solidFill>
                  <a:srgbClr val="000000"/>
                </a:solidFill>
              </a:endParaRPr>
            </a:p>
          </p:txBody>
        </p:sp>
        <p:sp>
          <p:nvSpPr>
            <p:cNvPr id="165" name="직사각형 16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66" name="직사각형 16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grpSp>
      <p:sp>
        <p:nvSpPr>
          <p:cNvPr id="194" name="모서리가 둥근 직사각형 193"/>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195" name="직선 연결선 194"/>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6" name="타원 195"/>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197" name="그룹 196"/>
          <p:cNvGrpSpPr/>
          <p:nvPr/>
        </p:nvGrpSpPr>
        <p:grpSpPr>
          <a:xfrm>
            <a:off x="1909289" y="2459100"/>
            <a:ext cx="782771" cy="108000"/>
            <a:chOff x="1909289" y="2402892"/>
            <a:chExt cx="782771" cy="108000"/>
          </a:xfrm>
        </p:grpSpPr>
        <p:sp>
          <p:nvSpPr>
            <p:cNvPr id="198" name="타원 197"/>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199" name="타원 198"/>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00" name="TextBox 199"/>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01" name="TextBox 200"/>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02" name="타원 201"/>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3" name="타원 202"/>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4" name="타원 203"/>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5" name="타원 204"/>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7" name="TextBox 206"/>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08" name="TextBox 207"/>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09" name="그룹 208"/>
          <p:cNvGrpSpPr/>
          <p:nvPr/>
        </p:nvGrpSpPr>
        <p:grpSpPr>
          <a:xfrm>
            <a:off x="3639689" y="2222764"/>
            <a:ext cx="782771" cy="584643"/>
            <a:chOff x="2774489" y="2160281"/>
            <a:chExt cx="782771" cy="584643"/>
          </a:xfrm>
        </p:grpSpPr>
        <p:sp>
          <p:nvSpPr>
            <p:cNvPr id="210" name="TextBox 209"/>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11" name="TextBox 210"/>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12" name="그룹 211"/>
          <p:cNvGrpSpPr/>
          <p:nvPr/>
        </p:nvGrpSpPr>
        <p:grpSpPr>
          <a:xfrm>
            <a:off x="4504889" y="2222764"/>
            <a:ext cx="782771" cy="584643"/>
            <a:chOff x="2774489" y="2160281"/>
            <a:chExt cx="782771" cy="584643"/>
          </a:xfrm>
        </p:grpSpPr>
        <p:sp>
          <p:nvSpPr>
            <p:cNvPr id="213" name="TextBox 212"/>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14" name="TextBox 213"/>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직사각형 77"/>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13.3</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12.6</a:t>
            </a:r>
            <a:r>
              <a:rPr lang="ko-KR" altLang="en-US" sz="1200">
                <a:solidFill>
                  <a:srgbClr val="000000"/>
                </a:solidFill>
              </a:rPr>
              <a:t>만원으로 </a:t>
            </a:r>
            <a:r>
              <a:rPr lang="en-US" altLang="ko-KR" sz="1200">
                <a:solidFill>
                  <a:srgbClr val="000000"/>
                </a:solidFill>
              </a:rPr>
              <a:t>5% </a:t>
            </a:r>
            <a:r>
              <a:rPr lang="ko-KR" altLang="en-US" sz="1200">
                <a:solidFill>
                  <a:srgbClr val="000000"/>
                </a:solidFill>
              </a:rPr>
              <a:t>감소 </a:t>
            </a:r>
            <a:endParaRPr lang="en-US" altLang="ko-KR" sz="1200">
              <a:solidFill>
                <a:srgbClr val="000000"/>
              </a:solidFill>
            </a:endParaRPr>
          </a:p>
        </p:txBody>
      </p:sp>
      <p:sp>
        <p:nvSpPr>
          <p:cNvPr id="79" name="직사각형 78"/>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식음료 업종은 큰 폭은 아니나</a:t>
            </a:r>
            <a:r>
              <a:rPr lang="en-US" altLang="ko-KR" sz="1200">
                <a:solidFill>
                  <a:srgbClr val="000000"/>
                </a:solidFill>
              </a:rPr>
              <a:t>,                          H1 </a:t>
            </a:r>
            <a:r>
              <a:rPr lang="en-US" altLang="ko-KR" sz="1200">
                <a:solidFill>
                  <a:srgbClr val="000000"/>
                </a:solidFill>
                <a:sym typeface="Wingdings"/>
              </a:rPr>
              <a:t> H3</a:t>
            </a:r>
            <a:r>
              <a:rPr lang="ko-KR" altLang="en-US" sz="1200">
                <a:solidFill>
                  <a:srgbClr val="000000"/>
                </a:solidFill>
                <a:sym typeface="Wingdings"/>
              </a:rPr>
              <a:t>와 </a:t>
            </a:r>
            <a:r>
              <a:rPr lang="en-US" altLang="ko-KR" sz="1200">
                <a:solidFill>
                  <a:srgbClr val="000000"/>
                </a:solidFill>
                <a:sym typeface="Wingdings"/>
              </a:rPr>
              <a:t>H2  H4 </a:t>
            </a:r>
            <a:r>
              <a:rPr lang="ko-KR" altLang="en-US" sz="1200">
                <a:solidFill>
                  <a:srgbClr val="000000"/>
                </a:solidFill>
                <a:sym typeface="Wingdings"/>
              </a:rPr>
              <a:t>각각</a:t>
            </a:r>
            <a:r>
              <a:rPr lang="en-US" altLang="ko-KR" sz="1200">
                <a:solidFill>
                  <a:srgbClr val="000000"/>
                </a:solidFill>
                <a:sym typeface="Wingdings"/>
              </a:rPr>
              <a:t> 1%p</a:t>
            </a:r>
            <a:r>
              <a:rPr lang="ko-KR" altLang="en-US" sz="1200">
                <a:solidFill>
                  <a:srgbClr val="000000"/>
                </a:solidFill>
                <a:sym typeface="Wingdings"/>
              </a:rPr>
              <a:t> 상승</a:t>
            </a:r>
            <a:endParaRPr lang="en-US" altLang="ko-KR" sz="1200">
              <a:solidFill>
                <a:srgbClr val="000000"/>
              </a:solidFill>
            </a:endParaRPr>
          </a:p>
        </p:txBody>
      </p:sp>
      <p:sp>
        <p:nvSpPr>
          <p:cNvPr id="80" name="직사각형 79"/>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51~52% </a:t>
            </a:r>
            <a:r>
              <a:rPr lang="ko-KR" altLang="en-US" sz="1200">
                <a:solidFill>
                  <a:srgbClr val="000000"/>
                </a:solidFill>
              </a:rPr>
              <a:t>내외를 유지</a:t>
            </a:r>
            <a:endParaRPr lang="en-US" altLang="ko-KR" sz="1200">
              <a:solidFill>
                <a:srgbClr val="000000"/>
              </a:solidFill>
            </a:endParaRPr>
          </a:p>
        </p:txBody>
      </p:sp>
      <p:grpSp>
        <p:nvGrpSpPr>
          <p:cNvPr id="5" name="그룹 4"/>
          <p:cNvGrpSpPr/>
          <p:nvPr/>
        </p:nvGrpSpPr>
        <p:grpSpPr>
          <a:xfrm>
            <a:off x="1871724" y="2744948"/>
            <a:ext cx="3416127" cy="472832"/>
            <a:chOff x="1871724" y="2744948"/>
            <a:chExt cx="3416127" cy="472832"/>
          </a:xfrm>
        </p:grpSpPr>
        <p:sp>
          <p:nvSpPr>
            <p:cNvPr id="81" name="직사각형 80"/>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100">
                <a:solidFill>
                  <a:srgbClr val="000000"/>
                </a:solidFill>
                <a:latin typeface="NOVA Bold"/>
                <a:ea typeface="NOVA Bold"/>
              </a:endParaRPr>
            </a:p>
          </p:txBody>
        </p:sp>
        <p:sp>
          <p:nvSpPr>
            <p:cNvPr id="82" name="타원 81"/>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sp>
        <p:nvSpPr>
          <p:cNvPr id="83" name="타원 82"/>
          <p:cNvSpPr/>
          <p:nvPr/>
        </p:nvSpPr>
        <p:spPr>
          <a:xfrm>
            <a:off x="5822615" y="566127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4" name="타원 83"/>
          <p:cNvSpPr/>
          <p:nvPr/>
        </p:nvSpPr>
        <p:spPr>
          <a:xfrm>
            <a:off x="5822615" y="4391777"/>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5" name="타원 84"/>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6" name="TextBox 85"/>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7" name="TextBox 86"/>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8" name="TextBox 87"/>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9" name="TextBox 88"/>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grpSp>
        <p:nvGrpSpPr>
          <p:cNvPr id="90" name="그룹 89"/>
          <p:cNvGrpSpPr/>
          <p:nvPr/>
        </p:nvGrpSpPr>
        <p:grpSpPr>
          <a:xfrm>
            <a:off x="1871724" y="3284984"/>
            <a:ext cx="3416127" cy="472832"/>
            <a:chOff x="1871724" y="2744948"/>
            <a:chExt cx="3416127" cy="472832"/>
          </a:xfrm>
        </p:grpSpPr>
        <p:sp>
          <p:nvSpPr>
            <p:cNvPr id="91" name="직사각형 90"/>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100">
                <a:solidFill>
                  <a:srgbClr val="000000"/>
                </a:solidFill>
                <a:latin typeface="NOVA Bold"/>
                <a:ea typeface="NOVA Bold"/>
              </a:endParaRPr>
            </a:p>
          </p:txBody>
        </p:sp>
        <p:sp>
          <p:nvSpPr>
            <p:cNvPr id="92" name="타원 91"/>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sp>
        <p:nvSpPr>
          <p:cNvPr id="94" name="직사각형 93"/>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5" name="타원 94"/>
          <p:cNvSpPr/>
          <p:nvPr/>
        </p:nvSpPr>
        <p:spPr>
          <a:xfrm>
            <a:off x="1871724" y="479715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6" name="TextBox 95"/>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2%</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7" name="TextBox 96"/>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2%</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8" name="TextBox 97"/>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1%</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9" name="TextBox 98"/>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1%</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Tree>
    <p:extLst>
      <p:ext uri="{BB962C8B-B14F-4D97-AF65-F5344CB8AC3E}">
        <p14:creationId xmlns:p14="http://schemas.microsoft.com/office/powerpoint/2010/main" val="103366853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779912" y="4786878"/>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4538755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1680"/>
          </a:xfrm>
        </p:spPr>
        <p:txBody>
          <a:bodyPr/>
          <a:lstStyle/>
          <a:p>
            <a:pPr lvl="0"/>
            <a:r>
              <a:rPr lang="ko-KR" altLang="en-US"/>
              <a:t>특정 이벤트</a:t>
            </a:r>
            <a:r>
              <a:rPr lang="ko-KR" altLang="en-US">
                <a:sym typeface="Wingdings 2"/>
              </a:rPr>
              <a:t>정책기상상태의 영향 분석</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메르스와 사드 배치 발표 등 제어 불가능한 부정적 요소의 영향을 최소화하고 기상악화에도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다른 방면으로 소비를 유도할 수 있는 방안 모색 필요</a:t>
            </a:r>
            <a:endParaRPr lang="en-US" altLang="ko-KR" sz="1400" spc="100">
              <a:ln>
                <a:solidFill>
                  <a:prstClr val="black">
                    <a:alpha val="20000"/>
                  </a:prstClr>
                </a:solidFill>
              </a:ln>
              <a:solidFill>
                <a:srgbClr val="000000"/>
              </a:solidFill>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524189323"/>
              </p:ext>
            </p:extLst>
          </p:nvPr>
        </p:nvGraphicFramePr>
        <p:xfrm>
          <a:off x="340355" y="2392859"/>
          <a:ext cx="8480116" cy="3916461"/>
        </p:xfrm>
        <a:graphic>
          <a:graphicData uri="http://schemas.openxmlformats.org/drawingml/2006/table">
            <a:tbl>
              <a:tblPr firstRow="1" bandRow="1">
                <a:tableStyleId>{5C22544A-7EE6-4342-B048-85BDC9FD1C3A}</a:tableStyleId>
              </a:tblPr>
              <a:tblGrid>
                <a:gridCol w="1032302"/>
                <a:gridCol w="1637445"/>
                <a:gridCol w="1087277"/>
                <a:gridCol w="1180773"/>
                <a:gridCol w="1180773"/>
                <a:gridCol w="1180773"/>
                <a:gridCol w="1180773"/>
              </a:tblGrid>
              <a:tr h="319261">
                <a:tc rowSpan="2">
                  <a:txBody>
                    <a:bodyPr/>
                    <a:lstStyle/>
                    <a:p>
                      <a:pPr algn="ctr" latinLnBrk="1"/>
                      <a:r>
                        <a:rPr lang="ko-KR" altLang="en-US" sz="1200" smtClean="0">
                          <a:solidFill>
                            <a:schemeClr val="bg1"/>
                          </a:solidFill>
                        </a:rPr>
                        <a:t>카테고리</a:t>
                      </a:r>
                      <a:endParaRPr lang="ko-KR" altLang="en-US" sz="1200">
                        <a:solidFill>
                          <a:schemeClr val="bg1"/>
                        </a:solidFill>
                      </a:endParaRPr>
                    </a:p>
                  </a:txBody>
                  <a:tcPr marL="0" marR="0"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rowSpan="2">
                  <a:txBody>
                    <a:bodyPr/>
                    <a:lstStyle/>
                    <a:p>
                      <a:pPr algn="ctr" latinLnBrk="1"/>
                      <a:r>
                        <a:rPr lang="ko-KR" altLang="en-US" sz="1200" smtClean="0">
                          <a:solidFill>
                            <a:schemeClr val="bg1"/>
                          </a:solidFill>
                        </a:rPr>
                        <a:t>분석 대상</a:t>
                      </a:r>
                      <a:endParaRPr lang="ko-KR" altLang="en-US" sz="1200">
                        <a:solidFill>
                          <a:schemeClr val="bg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rowSpan="2">
                  <a:txBody>
                    <a:bodyPr/>
                    <a:lstStyle/>
                    <a:p>
                      <a:pPr algn="ctr" latinLnBrk="1"/>
                      <a:r>
                        <a:rPr lang="ko-KR" altLang="en-US" sz="1200" spc="-50" baseline="0" smtClean="0">
                          <a:solidFill>
                            <a:schemeClr val="bg1"/>
                          </a:solidFill>
                          <a:latin typeface="+mn-ea"/>
                          <a:ea typeface="+mn-ea"/>
                        </a:rPr>
                        <a:t>영향 </a:t>
                      </a:r>
                      <a:endParaRPr lang="en-US" altLang="ko-KR" sz="1200" spc="-50" baseline="0" smtClean="0">
                        <a:solidFill>
                          <a:schemeClr val="bg1"/>
                        </a:solidFill>
                        <a:latin typeface="+mn-ea"/>
                        <a:ea typeface="+mn-ea"/>
                      </a:endParaRPr>
                    </a:p>
                    <a:p>
                      <a:pPr algn="ctr" latinLnBrk="1"/>
                      <a:r>
                        <a:rPr lang="ko-KR" altLang="en-US" sz="1200" spc="-50" baseline="0" smtClean="0">
                          <a:solidFill>
                            <a:schemeClr val="bg1"/>
                          </a:solidFill>
                          <a:latin typeface="+mn-ea"/>
                          <a:ea typeface="+mn-ea"/>
                        </a:rPr>
                        <a:t>가능성 여부</a:t>
                      </a:r>
                      <a:endParaRPr lang="ko-KR" altLang="en-US" sz="1200" spc="-50" baseline="0">
                        <a:solidFill>
                          <a:schemeClr val="bg1"/>
                        </a:solidFill>
                        <a:latin typeface="+mn-ea"/>
                        <a:ea typeface="+mn-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gridSpan="3">
                  <a:txBody>
                    <a:bodyPr/>
                    <a:lstStyle/>
                    <a:p>
                      <a:pPr algn="ctr" latinLnBrk="1"/>
                      <a:r>
                        <a:rPr lang="ko-KR" altLang="en-US" sz="1200" spc="-50" baseline="0" smtClean="0">
                          <a:solidFill>
                            <a:schemeClr val="bg1"/>
                          </a:solidFill>
                          <a:latin typeface="+mn-ea"/>
                          <a:ea typeface="+mn-ea"/>
                        </a:rPr>
                        <a:t>영향 발생 가능 대상</a:t>
                      </a:r>
                      <a:endParaRPr lang="ko-KR" altLang="en-US" sz="1200" spc="-50" baseline="0">
                        <a:solidFill>
                          <a:schemeClr val="bg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h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h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rowSpan="2">
                  <a:txBody>
                    <a:bodyPr/>
                    <a:lstStyle/>
                    <a:p>
                      <a:pPr algn="ctr" latinLnBrk="1"/>
                      <a:r>
                        <a:rPr lang="ko-KR" altLang="en-US" sz="1200" spc="-50" baseline="0" smtClean="0">
                          <a:solidFill>
                            <a:schemeClr val="bg1"/>
                          </a:solidFill>
                          <a:latin typeface="+mn-ea"/>
                          <a:ea typeface="+mn-ea"/>
                        </a:rPr>
                        <a:t>분석 지역</a:t>
                      </a:r>
                      <a:endParaRPr lang="ko-KR" altLang="en-US" sz="1200" spc="-50" baseline="0">
                        <a:solidFill>
                          <a:schemeClr val="bg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r>
              <a:tr h="319261">
                <a:tc vMerge="1">
                  <a:txBody>
                    <a:bodyPr/>
                    <a:lstStyle/>
                    <a:p>
                      <a:pPr algn="ctr" latinLnBrk="1"/>
                      <a:endParaRPr lang="ko-KR" altLang="en-US" sz="1200">
                        <a:solidFill>
                          <a:schemeClr val="bg1"/>
                        </a:solidFill>
                      </a:endParaRPr>
                    </a:p>
                  </a:txBody>
                  <a:tcPr marL="0" marR="0"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vMerge="1">
                  <a:txBody>
                    <a:bodyPr/>
                    <a:lstStyle/>
                    <a:p>
                      <a:pPr algn="ctr" latinLnBrk="1"/>
                      <a:endParaRPr lang="ko-KR" altLang="en-US" sz="1200">
                        <a:solidFill>
                          <a:schemeClr val="bg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v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a:txBody>
                    <a:bodyPr/>
                    <a:lstStyle/>
                    <a:p>
                      <a:pPr algn="ctr" latinLnBrk="1"/>
                      <a:r>
                        <a:rPr lang="ko-KR" altLang="en-US" sz="1200" spc="-50" baseline="0" smtClean="0">
                          <a:solidFill>
                            <a:schemeClr val="tx1"/>
                          </a:solidFill>
                          <a:latin typeface="+mn-ea"/>
                          <a:ea typeface="+mn-ea"/>
                        </a:rPr>
                        <a:t>제주도민</a:t>
                      </a:r>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a:txBody>
                    <a:bodyPr/>
                    <a:lstStyle/>
                    <a:p>
                      <a:pPr algn="ctr" latinLnBrk="1"/>
                      <a:r>
                        <a:rPr lang="ko-KR" altLang="en-US" sz="1200" spc="-50" baseline="0" smtClean="0">
                          <a:solidFill>
                            <a:schemeClr val="tx1"/>
                          </a:solidFill>
                          <a:latin typeface="+mn-ea"/>
                          <a:ea typeface="+mn-ea"/>
                        </a:rPr>
                        <a:t>내국인 관광객</a:t>
                      </a:r>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a:txBody>
                    <a:bodyPr/>
                    <a:lstStyle/>
                    <a:p>
                      <a:pPr algn="ctr" latinLnBrk="1"/>
                      <a:r>
                        <a:rPr lang="ko-KR" altLang="en-US" sz="1200" spc="-50" baseline="0" smtClean="0">
                          <a:solidFill>
                            <a:schemeClr val="tx1"/>
                          </a:solidFill>
                          <a:latin typeface="+mn-ea"/>
                          <a:ea typeface="+mn-ea"/>
                        </a:rPr>
                        <a:t>중국인 관광객</a:t>
                      </a:r>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v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r>
              <a:tr h="100379">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rowSpan="4">
                  <a:txBody>
                    <a:bodyPr/>
                    <a:lstStyle/>
                    <a:p>
                      <a:pPr algn="ctr" latinLnBrk="1"/>
                      <a:r>
                        <a:rPr lang="ko-KR" altLang="en-US" sz="1400" smtClean="0">
                          <a:solidFill>
                            <a:schemeClr val="tx1"/>
                          </a:solidFill>
                          <a:latin typeface="+mj-ea"/>
                          <a:ea typeface="+mj-ea"/>
                        </a:rPr>
                        <a:t>이벤트</a:t>
                      </a:r>
                      <a:endParaRPr lang="ko-KR" altLang="en-US" sz="1400">
                        <a:solidFill>
                          <a:schemeClr val="tx1"/>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latinLnBrk="1"/>
                      <a:r>
                        <a:rPr lang="ko-KR" altLang="en-US" sz="1200" baseline="0" smtClean="0">
                          <a:solidFill>
                            <a:srgbClr val="FF0000"/>
                          </a:solidFill>
                          <a:latin typeface="+mj-ea"/>
                          <a:ea typeface="+mj-ea"/>
                        </a:rPr>
                        <a:t>메르스</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400" b="1" smtClean="0">
                          <a:solidFill>
                            <a:schemeClr val="tx1"/>
                          </a:solidFill>
                          <a:latin typeface="NOVA ExtraBold" panose="00000800000000000000" pitchFamily="2" charset="-127"/>
                          <a:ea typeface="NOVA ExtraBold" panose="00000800000000000000" pitchFamily="2" charset="-127"/>
                          <a:sym typeface="Wingdings 2"/>
                        </a:rPr>
                        <a:t></a:t>
                      </a:r>
                      <a:endParaRPr lang="ko-KR" altLang="en-US" sz="1000" b="1">
                        <a:solidFill>
                          <a:schemeClr val="tx1"/>
                        </a:solidFill>
                        <a:latin typeface="NOVA ExtraBold" panose="00000800000000000000" pitchFamily="2" charset="-127"/>
                        <a:ea typeface="NOVA ExtraBold" panose="00000800000000000000" pitchFamily="2" charset="-127"/>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200" kern="1200" baseline="0" smtClean="0">
                          <a:solidFill>
                            <a:schemeClr val="tx1"/>
                          </a:solidFill>
                          <a:latin typeface="+mn-ea"/>
                          <a:ea typeface="+mn-ea"/>
                          <a:cs typeface="+mn-cs"/>
                        </a:rPr>
                        <a:t>  중국인 살인사건</a:t>
                      </a:r>
                      <a:endParaRPr lang="ko-KR" altLang="en-US" sz="1200" kern="1200" baseline="0">
                        <a:solidFill>
                          <a:schemeClr val="tx1"/>
                        </a:solidFill>
                        <a:latin typeface="+mn-ea"/>
                        <a:ea typeface="+mn-ea"/>
                        <a:cs typeface="+mn-cs"/>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lang="ko-KR" altLang="en-US" sz="100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200" baseline="0" smtClean="0">
                          <a:solidFill>
                            <a:schemeClr val="tx1"/>
                          </a:solidFill>
                          <a:latin typeface="+mn-ea"/>
                          <a:ea typeface="+mn-ea"/>
                        </a:rPr>
                        <a:t>연동</a:t>
                      </a: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latinLnBrk="1"/>
                      <a:r>
                        <a:rPr lang="ko-KR" altLang="en-US" sz="1200" baseline="0" smtClean="0">
                          <a:solidFill>
                            <a:srgbClr val="FF0000"/>
                          </a:solidFill>
                          <a:latin typeface="+mj-ea"/>
                          <a:ea typeface="+mj-ea"/>
                        </a:rPr>
                        <a:t>폐수 무단 방류</a:t>
                      </a:r>
                      <a:endParaRPr lang="ko-KR" altLang="en-US" sz="1200" baseline="0">
                        <a:solidFill>
                          <a:srgbClr val="FF0000"/>
                        </a:solidFill>
                        <a:latin typeface="+mj-ea"/>
                        <a:ea typeface="+mj-ea"/>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도두동</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67677">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  태양의 후예 방영</a:t>
                      </a:r>
                      <a:endParaRPr lang="ko-KR" altLang="en-US" sz="1200" baseline="0">
                        <a:solidFill>
                          <a:schemeClr val="tx1"/>
                        </a:solidFill>
                        <a:latin typeface="+mn-ea"/>
                        <a:ea typeface="+mn-ea"/>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lang="ko-KR" altLang="en-US" sz="100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100379">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j-ea"/>
                        <a:ea typeface="+mj-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n-ea"/>
                        <a:ea typeface="+mn-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rowSpan="2">
                  <a:txBody>
                    <a:bodyPr/>
                    <a:lstStyle/>
                    <a:p>
                      <a:pPr algn="ctr" latinLnBrk="1"/>
                      <a:r>
                        <a:rPr lang="ko-KR" altLang="en-US" sz="1400" smtClean="0">
                          <a:solidFill>
                            <a:schemeClr val="tx1"/>
                          </a:solidFill>
                          <a:latin typeface="+mj-ea"/>
                          <a:ea typeface="+mj-ea"/>
                        </a:rPr>
                        <a:t>정책</a:t>
                      </a:r>
                      <a:endParaRPr lang="ko-KR" altLang="en-US" sz="1400">
                        <a:solidFill>
                          <a:schemeClr val="tx1"/>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latinLnBrk="1"/>
                      <a:r>
                        <a:rPr lang="ko-KR" altLang="en-US" sz="1200" baseline="0" smtClean="0">
                          <a:solidFill>
                            <a:srgbClr val="FF0000"/>
                          </a:solidFill>
                          <a:latin typeface="+mj-ea"/>
                          <a:ea typeface="+mj-ea"/>
                        </a:rPr>
                        <a:t>사드 배치 발표</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67677">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200" kern="1200" baseline="0" smtClean="0">
                          <a:solidFill>
                            <a:schemeClr val="tx1"/>
                          </a:solidFill>
                          <a:latin typeface="+mj-ea"/>
                          <a:ea typeface="+mj-ea"/>
                          <a:cs typeface="+mn-cs"/>
                        </a:rPr>
                        <a:t> </a:t>
                      </a:r>
                      <a:r>
                        <a:rPr lang="ko-KR" altLang="en-US" sz="1200" kern="1200" baseline="0" smtClean="0">
                          <a:solidFill>
                            <a:schemeClr val="tx1"/>
                          </a:solidFill>
                          <a:latin typeface="+mn-ea"/>
                          <a:ea typeface="+mn-ea"/>
                          <a:cs typeface="+mn-cs"/>
                        </a:rPr>
                        <a:t>코리아세일페스타</a:t>
                      </a:r>
                      <a:endParaRPr lang="ko-KR" altLang="en-US" sz="1200" kern="1200" baseline="0">
                        <a:solidFill>
                          <a:schemeClr val="tx1"/>
                        </a:solidFill>
                        <a:latin typeface="+mn-ea"/>
                        <a:ea typeface="+mn-ea"/>
                        <a:cs typeface="+mn-cs"/>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lang="ko-KR" altLang="en-US" sz="70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latinLnBrk="1" hangingPunct="1"/>
                      <a:r>
                        <a:rPr lang="ko-KR" altLang="en-US" sz="1200" kern="1200" baseline="0" smtClean="0">
                          <a:solidFill>
                            <a:schemeClr val="tx1"/>
                          </a:solidFill>
                          <a:latin typeface="+mn-ea"/>
                          <a:ea typeface="+mn-ea"/>
                          <a:cs typeface="+mn-cs"/>
                        </a:rPr>
                        <a:t>제주도</a:t>
                      </a:r>
                      <a:endParaRPr lang="ko-KR" altLang="en-US" sz="1200" kern="1200" baseline="0">
                        <a:solidFill>
                          <a:schemeClr val="tx1"/>
                        </a:solidFill>
                        <a:latin typeface="+mn-ea"/>
                        <a:ea typeface="+mn-ea"/>
                        <a:cs typeface="+mn-cs"/>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100379">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j-ea"/>
                        <a:ea typeface="+mj-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n-ea"/>
                        <a:ea typeface="+mn-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rowSpan="5">
                  <a:txBody>
                    <a:bodyPr/>
                    <a:lstStyle/>
                    <a:p>
                      <a:pPr algn="ctr" latinLnBrk="1"/>
                      <a:r>
                        <a:rPr lang="ko-KR" altLang="en-US" sz="1400" smtClean="0">
                          <a:solidFill>
                            <a:schemeClr val="tx1"/>
                          </a:solidFill>
                          <a:latin typeface="+mj-ea"/>
                          <a:ea typeface="+mj-ea"/>
                        </a:rPr>
                        <a:t>기상 상태</a:t>
                      </a:r>
                      <a:endParaRPr lang="ko-KR" altLang="en-US" sz="1400">
                        <a:solidFill>
                          <a:schemeClr val="tx1"/>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latinLnBrk="1"/>
                      <a:r>
                        <a:rPr lang="ko-KR" altLang="en-US" sz="1200" baseline="0" smtClean="0">
                          <a:solidFill>
                            <a:srgbClr val="FF0000"/>
                          </a:solidFill>
                          <a:latin typeface="+mj-ea"/>
                          <a:ea typeface="+mj-ea"/>
                        </a:rPr>
                        <a:t>태풍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latinLnBrk="1"/>
                      <a:endParaRPr lang="ko-KR" altLang="en-US"/>
                    </a:p>
                  </a:txBody>
                  <a:tcP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tcPr>
                </a:tc>
                <a:tc>
                  <a:txBody>
                    <a:bodyPr/>
                    <a:lstStyle/>
                    <a:p>
                      <a:pPr algn="ctr" latinLnBrk="1"/>
                      <a:r>
                        <a:rPr lang="ko-KR" altLang="en-US" sz="1200" baseline="0" smtClean="0">
                          <a:solidFill>
                            <a:srgbClr val="FF0000"/>
                          </a:solidFill>
                          <a:latin typeface="+mj-ea"/>
                          <a:ea typeface="+mj-ea"/>
                        </a:rPr>
                        <a:t>강풍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latinLnBrk="1"/>
                      <a:endParaRPr lang="ko-KR" altLang="en-US"/>
                    </a:p>
                  </a:txBody>
                  <a:tcPr>
                    <a:lnR w="6350" cap="flat" cmpd="sng" algn="ctr">
                      <a:solidFill>
                        <a:schemeClr val="bg1">
                          <a:lumMod val="75000"/>
                        </a:schemeClr>
                      </a:solidFill>
                      <a:prstDash val="solid"/>
                      <a:round/>
                      <a:headEnd type="none" w="med" len="med"/>
                      <a:tailEnd type="none" w="med" len="med"/>
                    </a:lnR>
                  </a:tcPr>
                </a:tc>
                <a:tc>
                  <a:txBody>
                    <a:bodyPr/>
                    <a:lstStyle/>
                    <a:p>
                      <a:pPr algn="ctr" latinLnBrk="1"/>
                      <a:r>
                        <a:rPr lang="ko-KR" altLang="en-US" sz="1200" baseline="0" smtClean="0">
                          <a:solidFill>
                            <a:srgbClr val="FF0000"/>
                          </a:solidFill>
                          <a:latin typeface="+mj-ea"/>
                          <a:ea typeface="+mj-ea"/>
                        </a:rPr>
                        <a:t>호우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latinLnBrk="1"/>
                      <a:endParaRPr lang="ko-KR" altLang="en-US"/>
                    </a:p>
                  </a:txBody>
                  <a:tcPr>
                    <a:lnR w="6350" cap="flat" cmpd="sng" algn="ctr">
                      <a:solidFill>
                        <a:schemeClr val="bg1">
                          <a:lumMod val="75000"/>
                        </a:schemeClr>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pPr algn="ctr" latinLnBrk="1"/>
                      <a:r>
                        <a:rPr lang="ko-KR" altLang="en-US" sz="1200" baseline="0" smtClean="0">
                          <a:solidFill>
                            <a:srgbClr val="FF0000"/>
                          </a:solidFill>
                          <a:latin typeface="+mj-ea"/>
                          <a:ea typeface="+mj-ea"/>
                        </a:rPr>
                        <a:t>대설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latinLnBrk="1"/>
                      <a:r>
                        <a:rPr lang="ko-KR" altLang="en-US" sz="1200" baseline="0" smtClean="0">
                          <a:solidFill>
                            <a:srgbClr val="FF0000"/>
                          </a:solidFill>
                          <a:latin typeface="+mj-ea"/>
                          <a:ea typeface="+mj-ea"/>
                        </a:rPr>
                        <a:t>장마</a:t>
                      </a:r>
                      <a:endParaRPr lang="ko-KR" altLang="en-US" sz="1200" baseline="0">
                        <a:solidFill>
                          <a:srgbClr val="FF0000"/>
                        </a:solidFill>
                        <a:latin typeface="+mj-ea"/>
                        <a:ea typeface="+mj-ea"/>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178226900"/>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직사각형 3"/>
          <p:cNvSpPr/>
          <p:nvPr/>
        </p:nvSpPr>
        <p:spPr>
          <a:xfrm>
            <a:off x="107504" y="188640"/>
            <a:ext cx="8856984" cy="76470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5" name="직사각형 4"/>
          <p:cNvSpPr/>
          <p:nvPr/>
        </p:nvSpPr>
        <p:spPr>
          <a:xfrm>
            <a:off x="29394" y="764704"/>
            <a:ext cx="720080" cy="597666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6" name="직사각형 5"/>
          <p:cNvSpPr/>
          <p:nvPr/>
        </p:nvSpPr>
        <p:spPr>
          <a:xfrm>
            <a:off x="179512" y="5959177"/>
            <a:ext cx="8856984" cy="76470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7" name="직사각형 6"/>
          <p:cNvSpPr/>
          <p:nvPr/>
        </p:nvSpPr>
        <p:spPr>
          <a:xfrm>
            <a:off x="8395345" y="383915"/>
            <a:ext cx="720080" cy="597666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pic>
        <p:nvPicPr>
          <p:cNvPr id="8" name="Picture 3" descr="C:\Users\공유폴더\표지 엔딩\05.png"/>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771800" y="3133724"/>
            <a:ext cx="2242039" cy="6096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Users\공유폴더\표지 엔딩\05.png"/>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5169879" y="3009900"/>
            <a:ext cx="96715" cy="857250"/>
          </a:xfrm>
          <a:prstGeom prst="rect">
            <a:avLst/>
          </a:prstGeom>
          <a:noFill/>
          <a:extLst>
            <a:ext uri="{909E8E84-426E-40DD-AFC4-6F175D3DCCD1}">
              <a14:hiddenFill xmlns:a14="http://schemas.microsoft.com/office/drawing/2010/main">
                <a:solidFill>
                  <a:srgbClr val="FFFFFF"/>
                </a:solidFill>
              </a14:hiddenFill>
            </a:ext>
          </a:extLst>
        </p:spPr>
      </p:pic>
      <p:pic>
        <p:nvPicPr>
          <p:cNvPr id="2" name="그림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4088" y="3195127"/>
            <a:ext cx="1512168" cy="486794"/>
          </a:xfrm>
          <a:prstGeom prst="rect">
            <a:avLst/>
          </a:prstGeom>
        </p:spPr>
      </p:pic>
    </p:spTree>
    <p:extLst>
      <p:ext uri="{BB962C8B-B14F-4D97-AF65-F5344CB8AC3E}">
        <p14:creationId xmlns:p14="http://schemas.microsoft.com/office/powerpoint/2010/main" val="333769561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참고</a:t>
            </a:r>
            <a:r>
              <a:rPr lang="en-US" altLang="ko-KR" smtClean="0"/>
              <a:t>] </a:t>
            </a:r>
            <a:r>
              <a:rPr lang="ko-KR" altLang="en-US" smtClean="0"/>
              <a:t>분석 대상 지역 구분 상세</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sym typeface="Wingdings"/>
              </a:rPr>
              <a:t></a:t>
            </a:r>
            <a:r>
              <a:rPr lang="ko-KR" altLang="en-US" sz="1600" spc="100">
                <a:ln>
                  <a:solidFill>
                    <a:prstClr val="black">
                      <a:alpha val="20000"/>
                    </a:prstClr>
                  </a:solidFill>
                </a:ln>
                <a:solidFill>
                  <a:srgbClr val="000000"/>
                </a:solidFill>
                <a:latin typeface="NOVA Bold"/>
                <a:ea typeface="NOVA Bold"/>
                <a:cs typeface="Arial" pitchFamily="34" charset="0"/>
              </a:rPr>
              <a:t>행정동 </a:t>
            </a:r>
            <a:r>
              <a:rPr lang="en-US" altLang="ko-KR" sz="1600" spc="100">
                <a:ln>
                  <a:solidFill>
                    <a:prstClr val="black">
                      <a:alpha val="20000"/>
                    </a:prstClr>
                  </a:solidFill>
                </a:ln>
                <a:solidFill>
                  <a:srgbClr val="000000"/>
                </a:solidFill>
                <a:latin typeface="NOVA Bold"/>
                <a:ea typeface="NOVA Bold"/>
                <a:cs typeface="Arial" pitchFamily="34" charset="0"/>
              </a:rPr>
              <a:t>3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읍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개</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 </a:t>
            </a:r>
            <a:r>
              <a:rPr lang="en-US" altLang="ko-KR" sz="1600" spc="100">
                <a:ln>
                  <a:solidFill>
                    <a:prstClr val="black">
                      <a:alpha val="20000"/>
                    </a:prstClr>
                  </a:solidFill>
                </a:ln>
                <a:solidFill>
                  <a:srgbClr val="000000"/>
                </a:solidFill>
                <a:latin typeface="NOVA Bold"/>
                <a:ea typeface="NOVA Bold"/>
                <a:cs typeface="Arial" pitchFamily="34" charset="0"/>
              </a:rPr>
              <a:t>19</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읍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 </a:t>
            </a:r>
            <a:r>
              <a:rPr lang="en-US" altLang="ko-KR" sz="1600" spc="100">
                <a:ln>
                  <a:solidFill>
                    <a:prstClr val="black">
                      <a:alpha val="20000"/>
                    </a:prstClr>
                  </a:solidFill>
                </a:ln>
                <a:solidFill>
                  <a:srgbClr val="000000"/>
                </a:solidFill>
                <a:latin typeface="NOVA Bold"/>
                <a:ea typeface="NOVA Bold"/>
                <a:cs typeface="Arial" pitchFamily="34" charset="0"/>
              </a:rPr>
              <a:t>1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읍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p:txBody>
          <a:bodyPr/>
          <a:lstStyle/>
          <a:p>
            <a:r>
              <a:rPr lang="en-US" altLang="ko-KR" smtClean="0"/>
              <a:t>     </a:t>
            </a:r>
            <a:r>
              <a:rPr lang="ko-KR" altLang="en-US" smtClean="0"/>
              <a:t>분석 개요</a:t>
            </a:r>
            <a:endParaRPr lang="ko-KR" altLang="en-US"/>
          </a:p>
        </p:txBody>
      </p:sp>
      <p:sp>
        <p:nvSpPr>
          <p:cNvPr id="103" name="자유형 102"/>
          <p:cNvSpPr/>
          <p:nvPr/>
        </p:nvSpPr>
        <p:spPr>
          <a:xfrm>
            <a:off x="7118439" y="2875168"/>
            <a:ext cx="923086" cy="1149703"/>
          </a:xfrm>
          <a:custGeom>
            <a:avLst/>
            <a:gdLst>
              <a:gd name="connsiteX0" fmla="*/ 469900 w 1016000"/>
              <a:gd name="connsiteY0" fmla="*/ 0 h 2603500"/>
              <a:gd name="connsiteX1" fmla="*/ 1016000 w 1016000"/>
              <a:gd name="connsiteY1" fmla="*/ 2057400 h 2603500"/>
              <a:gd name="connsiteX2" fmla="*/ 514350 w 1016000"/>
              <a:gd name="connsiteY2" fmla="*/ 2603500 h 2603500"/>
              <a:gd name="connsiteX3" fmla="*/ 673100 w 1016000"/>
              <a:gd name="connsiteY3" fmla="*/ 1974850 h 2603500"/>
              <a:gd name="connsiteX4" fmla="*/ 514350 w 1016000"/>
              <a:gd name="connsiteY4" fmla="*/ 1466850 h 2603500"/>
              <a:gd name="connsiteX5" fmla="*/ 393700 w 1016000"/>
              <a:gd name="connsiteY5" fmla="*/ 1193800 h 2603500"/>
              <a:gd name="connsiteX6" fmla="*/ 292100 w 1016000"/>
              <a:gd name="connsiteY6" fmla="*/ 838200 h 2603500"/>
              <a:gd name="connsiteX7" fmla="*/ 0 w 1016000"/>
              <a:gd name="connsiteY7" fmla="*/ 317500 h 2603500"/>
              <a:gd name="connsiteX8" fmla="*/ 469900 w 1016000"/>
              <a:gd name="connsiteY8" fmla="*/ 0 h 26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6000" h="2603500">
                <a:moveTo>
                  <a:pt x="469900" y="0"/>
                </a:moveTo>
                <a:lnTo>
                  <a:pt x="1016000" y="2057400"/>
                </a:lnTo>
                <a:lnTo>
                  <a:pt x="514350" y="2603500"/>
                </a:lnTo>
                <a:lnTo>
                  <a:pt x="673100" y="1974850"/>
                </a:lnTo>
                <a:lnTo>
                  <a:pt x="514350" y="1466850"/>
                </a:lnTo>
                <a:lnTo>
                  <a:pt x="393700" y="1193800"/>
                </a:lnTo>
                <a:lnTo>
                  <a:pt x="292100" y="838200"/>
                </a:lnTo>
                <a:lnTo>
                  <a:pt x="0" y="317500"/>
                </a:lnTo>
                <a:lnTo>
                  <a:pt x="46990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4" name="자유형 103"/>
          <p:cNvSpPr/>
          <p:nvPr/>
        </p:nvSpPr>
        <p:spPr>
          <a:xfrm>
            <a:off x="6544395" y="3007664"/>
            <a:ext cx="1185589" cy="1324963"/>
          </a:xfrm>
          <a:custGeom>
            <a:avLst/>
            <a:gdLst>
              <a:gd name="connsiteX0" fmla="*/ 628650 w 1304925"/>
              <a:gd name="connsiteY0" fmla="*/ 4762 h 3000375"/>
              <a:gd name="connsiteX1" fmla="*/ 557213 w 1304925"/>
              <a:gd name="connsiteY1" fmla="*/ 47625 h 3000375"/>
              <a:gd name="connsiteX2" fmla="*/ 138113 w 1304925"/>
              <a:gd name="connsiteY2" fmla="*/ 0 h 3000375"/>
              <a:gd name="connsiteX3" fmla="*/ 0 w 1304925"/>
              <a:gd name="connsiteY3" fmla="*/ 119062 h 3000375"/>
              <a:gd name="connsiteX4" fmla="*/ 261938 w 1304925"/>
              <a:gd name="connsiteY4" fmla="*/ 628650 h 3000375"/>
              <a:gd name="connsiteX5" fmla="*/ 561975 w 1304925"/>
              <a:gd name="connsiteY5" fmla="*/ 1828800 h 3000375"/>
              <a:gd name="connsiteX6" fmla="*/ 585788 w 1304925"/>
              <a:gd name="connsiteY6" fmla="*/ 2476500 h 3000375"/>
              <a:gd name="connsiteX7" fmla="*/ 533400 w 1304925"/>
              <a:gd name="connsiteY7" fmla="*/ 3000375 h 3000375"/>
              <a:gd name="connsiteX8" fmla="*/ 1147763 w 1304925"/>
              <a:gd name="connsiteY8" fmla="*/ 2314575 h 3000375"/>
              <a:gd name="connsiteX9" fmla="*/ 1304925 w 1304925"/>
              <a:gd name="connsiteY9" fmla="*/ 1666875 h 3000375"/>
              <a:gd name="connsiteX10" fmla="*/ 1157288 w 1304925"/>
              <a:gd name="connsiteY10" fmla="*/ 1166812 h 3000375"/>
              <a:gd name="connsiteX11" fmla="*/ 1009650 w 1304925"/>
              <a:gd name="connsiteY11" fmla="*/ 847725 h 3000375"/>
              <a:gd name="connsiteX12" fmla="*/ 923925 w 1304925"/>
              <a:gd name="connsiteY12" fmla="*/ 519112 h 3000375"/>
              <a:gd name="connsiteX13" fmla="*/ 628650 w 1304925"/>
              <a:gd name="connsiteY13" fmla="*/ 4762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4925" h="3000375">
                <a:moveTo>
                  <a:pt x="628650" y="4762"/>
                </a:moveTo>
                <a:lnTo>
                  <a:pt x="557213" y="47625"/>
                </a:lnTo>
                <a:lnTo>
                  <a:pt x="138113" y="0"/>
                </a:lnTo>
                <a:lnTo>
                  <a:pt x="0" y="119062"/>
                </a:lnTo>
                <a:lnTo>
                  <a:pt x="261938" y="628650"/>
                </a:lnTo>
                <a:lnTo>
                  <a:pt x="561975" y="1828800"/>
                </a:lnTo>
                <a:lnTo>
                  <a:pt x="585788" y="2476500"/>
                </a:lnTo>
                <a:lnTo>
                  <a:pt x="533400" y="3000375"/>
                </a:lnTo>
                <a:lnTo>
                  <a:pt x="1147763" y="2314575"/>
                </a:lnTo>
                <a:lnTo>
                  <a:pt x="1304925" y="1666875"/>
                </a:lnTo>
                <a:lnTo>
                  <a:pt x="1157288" y="1166812"/>
                </a:lnTo>
                <a:lnTo>
                  <a:pt x="1009650" y="847725"/>
                </a:lnTo>
                <a:lnTo>
                  <a:pt x="923925" y="519112"/>
                </a:lnTo>
                <a:lnTo>
                  <a:pt x="628650" y="4762"/>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5" name="자유형 104"/>
          <p:cNvSpPr/>
          <p:nvPr/>
        </p:nvSpPr>
        <p:spPr>
          <a:xfrm>
            <a:off x="6116025" y="2875168"/>
            <a:ext cx="960586" cy="1507934"/>
          </a:xfrm>
          <a:custGeom>
            <a:avLst/>
            <a:gdLst>
              <a:gd name="connsiteX0" fmla="*/ 290512 w 1057275"/>
              <a:gd name="connsiteY0" fmla="*/ 52388 h 3414713"/>
              <a:gd name="connsiteX1" fmla="*/ 176212 w 1057275"/>
              <a:gd name="connsiteY1" fmla="*/ 14288 h 3414713"/>
              <a:gd name="connsiteX2" fmla="*/ 57150 w 1057275"/>
              <a:gd name="connsiteY2" fmla="*/ 0 h 3414713"/>
              <a:gd name="connsiteX3" fmla="*/ 0 w 1057275"/>
              <a:gd name="connsiteY3" fmla="*/ 38100 h 3414713"/>
              <a:gd name="connsiteX4" fmla="*/ 571500 w 1057275"/>
              <a:gd name="connsiteY4" fmla="*/ 1738313 h 3414713"/>
              <a:gd name="connsiteX5" fmla="*/ 509587 w 1057275"/>
              <a:gd name="connsiteY5" fmla="*/ 3000375 h 3414713"/>
              <a:gd name="connsiteX6" fmla="*/ 633412 w 1057275"/>
              <a:gd name="connsiteY6" fmla="*/ 3238500 h 3414713"/>
              <a:gd name="connsiteX7" fmla="*/ 914400 w 1057275"/>
              <a:gd name="connsiteY7" fmla="*/ 3414713 h 3414713"/>
              <a:gd name="connsiteX8" fmla="*/ 1009650 w 1057275"/>
              <a:gd name="connsiteY8" fmla="*/ 3286125 h 3414713"/>
              <a:gd name="connsiteX9" fmla="*/ 1057275 w 1057275"/>
              <a:gd name="connsiteY9" fmla="*/ 2767013 h 3414713"/>
              <a:gd name="connsiteX10" fmla="*/ 1038225 w 1057275"/>
              <a:gd name="connsiteY10" fmla="*/ 2114550 h 3414713"/>
              <a:gd name="connsiteX11" fmla="*/ 733425 w 1057275"/>
              <a:gd name="connsiteY11" fmla="*/ 919163 h 3414713"/>
              <a:gd name="connsiteX12" fmla="*/ 290512 w 1057275"/>
              <a:gd name="connsiteY12" fmla="*/ 52388 h 341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275" h="3414713">
                <a:moveTo>
                  <a:pt x="290512" y="52388"/>
                </a:moveTo>
                <a:lnTo>
                  <a:pt x="176212" y="14288"/>
                </a:lnTo>
                <a:lnTo>
                  <a:pt x="57150" y="0"/>
                </a:lnTo>
                <a:lnTo>
                  <a:pt x="0" y="38100"/>
                </a:lnTo>
                <a:lnTo>
                  <a:pt x="571500" y="1738313"/>
                </a:lnTo>
                <a:lnTo>
                  <a:pt x="509587" y="3000375"/>
                </a:lnTo>
                <a:lnTo>
                  <a:pt x="633412" y="3238500"/>
                </a:lnTo>
                <a:lnTo>
                  <a:pt x="914400" y="3414713"/>
                </a:lnTo>
                <a:lnTo>
                  <a:pt x="1009650" y="3286125"/>
                </a:lnTo>
                <a:lnTo>
                  <a:pt x="1057275" y="2767013"/>
                </a:lnTo>
                <a:lnTo>
                  <a:pt x="1038225" y="2114550"/>
                </a:lnTo>
                <a:lnTo>
                  <a:pt x="733425" y="919163"/>
                </a:lnTo>
                <a:lnTo>
                  <a:pt x="290512" y="52388"/>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6" name="자유형 105"/>
          <p:cNvSpPr/>
          <p:nvPr/>
        </p:nvSpPr>
        <p:spPr>
          <a:xfrm>
            <a:off x="5977562" y="2891992"/>
            <a:ext cx="653371" cy="1308139"/>
          </a:xfrm>
          <a:custGeom>
            <a:avLst/>
            <a:gdLst>
              <a:gd name="connsiteX0" fmla="*/ 157162 w 719137"/>
              <a:gd name="connsiteY0" fmla="*/ 0 h 2962275"/>
              <a:gd name="connsiteX1" fmla="*/ 57150 w 719137"/>
              <a:gd name="connsiteY1" fmla="*/ 19050 h 2962275"/>
              <a:gd name="connsiteX2" fmla="*/ 0 w 719137"/>
              <a:gd name="connsiteY2" fmla="*/ 71438 h 2962275"/>
              <a:gd name="connsiteX3" fmla="*/ 400050 w 719137"/>
              <a:gd name="connsiteY3" fmla="*/ 1485900 h 2962275"/>
              <a:gd name="connsiteX4" fmla="*/ 519112 w 719137"/>
              <a:gd name="connsiteY4" fmla="*/ 2719388 h 2962275"/>
              <a:gd name="connsiteX5" fmla="*/ 657225 w 719137"/>
              <a:gd name="connsiteY5" fmla="*/ 2962275 h 2962275"/>
              <a:gd name="connsiteX6" fmla="*/ 719137 w 719137"/>
              <a:gd name="connsiteY6" fmla="*/ 1671638 h 2962275"/>
              <a:gd name="connsiteX7" fmla="*/ 157162 w 719137"/>
              <a:gd name="connsiteY7" fmla="*/ 0 h 29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37" h="2962275">
                <a:moveTo>
                  <a:pt x="157162" y="0"/>
                </a:moveTo>
                <a:lnTo>
                  <a:pt x="57150" y="19050"/>
                </a:lnTo>
                <a:lnTo>
                  <a:pt x="0" y="71438"/>
                </a:lnTo>
                <a:lnTo>
                  <a:pt x="400050" y="1485900"/>
                </a:lnTo>
                <a:lnTo>
                  <a:pt x="519112" y="2719388"/>
                </a:lnTo>
                <a:lnTo>
                  <a:pt x="657225" y="2962275"/>
                </a:lnTo>
                <a:lnTo>
                  <a:pt x="719137" y="1671638"/>
                </a:lnTo>
                <a:lnTo>
                  <a:pt x="157162"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7" name="자유형 106"/>
          <p:cNvSpPr/>
          <p:nvPr/>
        </p:nvSpPr>
        <p:spPr>
          <a:xfrm>
            <a:off x="5562173" y="2925643"/>
            <a:ext cx="882701" cy="1163023"/>
          </a:xfrm>
          <a:custGeom>
            <a:avLst/>
            <a:gdLst>
              <a:gd name="connsiteX0" fmla="*/ 452437 w 971550"/>
              <a:gd name="connsiteY0" fmla="*/ 0 h 2633663"/>
              <a:gd name="connsiteX1" fmla="*/ 157162 w 971550"/>
              <a:gd name="connsiteY1" fmla="*/ 204788 h 2633663"/>
              <a:gd name="connsiteX2" fmla="*/ 423862 w 971550"/>
              <a:gd name="connsiteY2" fmla="*/ 809625 h 2633663"/>
              <a:gd name="connsiteX3" fmla="*/ 290512 w 971550"/>
              <a:gd name="connsiteY3" fmla="*/ 1019175 h 2633663"/>
              <a:gd name="connsiteX4" fmla="*/ 0 w 971550"/>
              <a:gd name="connsiteY4" fmla="*/ 981075 h 2633663"/>
              <a:gd name="connsiteX5" fmla="*/ 100012 w 971550"/>
              <a:gd name="connsiteY5" fmla="*/ 2100263 h 2633663"/>
              <a:gd name="connsiteX6" fmla="*/ 900112 w 971550"/>
              <a:gd name="connsiteY6" fmla="*/ 2533650 h 2633663"/>
              <a:gd name="connsiteX7" fmla="*/ 971550 w 971550"/>
              <a:gd name="connsiteY7" fmla="*/ 2633663 h 2633663"/>
              <a:gd name="connsiteX8" fmla="*/ 862012 w 971550"/>
              <a:gd name="connsiteY8" fmla="*/ 1400175 h 2633663"/>
              <a:gd name="connsiteX9" fmla="*/ 452437 w 971550"/>
              <a:gd name="connsiteY9" fmla="*/ 0 h 263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1550" h="2633663">
                <a:moveTo>
                  <a:pt x="452437" y="0"/>
                </a:moveTo>
                <a:lnTo>
                  <a:pt x="157162" y="204788"/>
                </a:lnTo>
                <a:lnTo>
                  <a:pt x="423862" y="809625"/>
                </a:lnTo>
                <a:lnTo>
                  <a:pt x="290512" y="1019175"/>
                </a:lnTo>
                <a:lnTo>
                  <a:pt x="0" y="981075"/>
                </a:lnTo>
                <a:lnTo>
                  <a:pt x="100012" y="2100263"/>
                </a:lnTo>
                <a:lnTo>
                  <a:pt x="900112" y="2533650"/>
                </a:lnTo>
                <a:lnTo>
                  <a:pt x="971550" y="2633663"/>
                </a:lnTo>
                <a:lnTo>
                  <a:pt x="862012" y="1400175"/>
                </a:lnTo>
                <a:lnTo>
                  <a:pt x="452437"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8" name="자유형 107"/>
          <p:cNvSpPr/>
          <p:nvPr/>
        </p:nvSpPr>
        <p:spPr>
          <a:xfrm>
            <a:off x="6887667" y="2645227"/>
            <a:ext cx="651930" cy="328087"/>
          </a:xfrm>
          <a:custGeom>
            <a:avLst/>
            <a:gdLst>
              <a:gd name="connsiteX0" fmla="*/ 0 w 717550"/>
              <a:gd name="connsiteY0" fmla="*/ 25400 h 742950"/>
              <a:gd name="connsiteX1" fmla="*/ 50800 w 717550"/>
              <a:gd name="connsiteY1" fmla="*/ 0 h 742950"/>
              <a:gd name="connsiteX2" fmla="*/ 241300 w 717550"/>
              <a:gd name="connsiteY2" fmla="*/ 209550 h 742950"/>
              <a:gd name="connsiteX3" fmla="*/ 311150 w 717550"/>
              <a:gd name="connsiteY3" fmla="*/ 254000 h 742950"/>
              <a:gd name="connsiteX4" fmla="*/ 666750 w 717550"/>
              <a:gd name="connsiteY4" fmla="*/ 260350 h 742950"/>
              <a:gd name="connsiteX5" fmla="*/ 717550 w 717550"/>
              <a:gd name="connsiteY5" fmla="*/ 514350 h 742950"/>
              <a:gd name="connsiteX6" fmla="*/ 393700 w 717550"/>
              <a:gd name="connsiteY6" fmla="*/ 742950 h 742950"/>
              <a:gd name="connsiteX7" fmla="*/ 374650 w 717550"/>
              <a:gd name="connsiteY7" fmla="*/ 685800 h 742950"/>
              <a:gd name="connsiteX8" fmla="*/ 355600 w 717550"/>
              <a:gd name="connsiteY8" fmla="*/ 660400 h 742950"/>
              <a:gd name="connsiteX9" fmla="*/ 0 w 717550"/>
              <a:gd name="connsiteY9" fmla="*/ 25400 h 742950"/>
              <a:gd name="connsiteX0dup0" fmla="*/ 0 w 717550"/>
              <a:gd name="connsiteY0dup0" fmla="*/ 25400 h 742950"/>
              <a:gd name="connsiteX1dup0" fmla="*/ 50800 w 717550"/>
              <a:gd name="connsiteY1dup0" fmla="*/ 0 h 742950"/>
              <a:gd name="connsiteX2dup0" fmla="*/ 241300 w 717550"/>
              <a:gd name="connsiteY2dup0" fmla="*/ 209550 h 742950"/>
              <a:gd name="connsiteX3dup0" fmla="*/ 311150 w 717550"/>
              <a:gd name="connsiteY3dup0" fmla="*/ 254000 h 742950"/>
              <a:gd name="connsiteX4dup0" fmla="*/ 666750 w 717550"/>
              <a:gd name="connsiteY4dup0" fmla="*/ 260350 h 742950"/>
              <a:gd name="connsiteX5dup0" fmla="*/ 717550 w 717550"/>
              <a:gd name="connsiteY5dup0" fmla="*/ 514350 h 742950"/>
              <a:gd name="connsiteX6dup0" fmla="*/ 393700 w 717550"/>
              <a:gd name="connsiteY6dup0" fmla="*/ 742950 h 742950"/>
              <a:gd name="connsiteX7dup0" fmla="*/ 374650 w 717550"/>
              <a:gd name="connsiteY7dup0" fmla="*/ 685800 h 742950"/>
              <a:gd name="connsiteX8dup0" fmla="*/ 0 w 717550"/>
              <a:gd name="connsiteY8dup0" fmla="*/ 25400 h 742950"/>
              <a:gd name="connsiteX0dup0dup1" fmla="*/ 0 w 717550"/>
              <a:gd name="connsiteY0dup0dup1" fmla="*/ 25400 h 742950"/>
              <a:gd name="connsiteX1dup0dup1" fmla="*/ 50800 w 717550"/>
              <a:gd name="connsiteY1dup0dup1" fmla="*/ 0 h 742950"/>
              <a:gd name="connsiteX2dup0dup1" fmla="*/ 241300 w 717550"/>
              <a:gd name="connsiteY2dup0dup1" fmla="*/ 209550 h 742950"/>
              <a:gd name="connsiteX3dup0dup1" fmla="*/ 311150 w 717550"/>
              <a:gd name="connsiteY3dup0dup1" fmla="*/ 254000 h 742950"/>
              <a:gd name="connsiteX4dup0dup1" fmla="*/ 666750 w 717550"/>
              <a:gd name="connsiteY4dup0dup1" fmla="*/ 260350 h 742950"/>
              <a:gd name="connsiteX5dup0dup1" fmla="*/ 717550 w 717550"/>
              <a:gd name="connsiteY5dup0dup1" fmla="*/ 514350 h 742950"/>
              <a:gd name="connsiteX6dup0dup1" fmla="*/ 393700 w 717550"/>
              <a:gd name="connsiteY6dup0dup1" fmla="*/ 742950 h 742950"/>
              <a:gd name="connsiteX7dup0dup1" fmla="*/ 0 w 717550"/>
              <a:gd name="connsiteY7dup0dup1" fmla="*/ 25400 h 742950"/>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Lst>
            <a:rect l="l" t="t" r="r" b="b"/>
            <a:pathLst>
              <a:path w="717550" h="742950">
                <a:moveTo>
                  <a:pt x="0" y="25400"/>
                </a:moveTo>
                <a:lnTo>
                  <a:pt x="50800" y="0"/>
                </a:lnTo>
                <a:lnTo>
                  <a:pt x="241300" y="209550"/>
                </a:lnTo>
                <a:lnTo>
                  <a:pt x="311150" y="254000"/>
                </a:lnTo>
                <a:lnTo>
                  <a:pt x="666750" y="260350"/>
                </a:lnTo>
                <a:lnTo>
                  <a:pt x="717550" y="514350"/>
                </a:lnTo>
                <a:lnTo>
                  <a:pt x="393700" y="742950"/>
                </a:lnTo>
                <a:cubicBezTo>
                  <a:pt x="274108" y="661458"/>
                  <a:pt x="57150" y="149225"/>
                  <a:pt x="0" y="25400"/>
                </a:cubicBez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4" name="자유형 133"/>
          <p:cNvSpPr/>
          <p:nvPr/>
        </p:nvSpPr>
        <p:spPr>
          <a:xfrm>
            <a:off x="6674203" y="2656443"/>
            <a:ext cx="571160" cy="372952"/>
          </a:xfrm>
          <a:custGeom>
            <a:avLst/>
            <a:gdLst>
              <a:gd name="connsiteX0" fmla="*/ 0 w 628650"/>
              <a:gd name="connsiteY0" fmla="*/ 127000 h 844550"/>
              <a:gd name="connsiteX1" fmla="*/ 228600 w 628650"/>
              <a:gd name="connsiteY1" fmla="*/ 0 h 844550"/>
              <a:gd name="connsiteX2" fmla="*/ 260350 w 628650"/>
              <a:gd name="connsiteY2" fmla="*/ 57150 h 844550"/>
              <a:gd name="connsiteX3" fmla="*/ 628650 w 628650"/>
              <a:gd name="connsiteY3" fmla="*/ 723900 h 844550"/>
              <a:gd name="connsiteX4" fmla="*/ 419100 w 628650"/>
              <a:gd name="connsiteY4" fmla="*/ 844550 h 844550"/>
              <a:gd name="connsiteX5" fmla="*/ 139700 w 628650"/>
              <a:gd name="connsiteY5" fmla="*/ 825500 h 844550"/>
              <a:gd name="connsiteX6" fmla="*/ 177800 w 628650"/>
              <a:gd name="connsiteY6" fmla="*/ 482600 h 844550"/>
              <a:gd name="connsiteX7" fmla="*/ 0 w 628650"/>
              <a:gd name="connsiteY7" fmla="*/ 127000 h 8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50" h="844550">
                <a:moveTo>
                  <a:pt x="0" y="127000"/>
                </a:moveTo>
                <a:lnTo>
                  <a:pt x="228600" y="0"/>
                </a:lnTo>
                <a:lnTo>
                  <a:pt x="260350" y="57150"/>
                </a:lnTo>
                <a:lnTo>
                  <a:pt x="628650" y="723900"/>
                </a:lnTo>
                <a:lnTo>
                  <a:pt x="419100" y="844550"/>
                </a:lnTo>
                <a:lnTo>
                  <a:pt x="139700" y="825500"/>
                </a:lnTo>
                <a:lnTo>
                  <a:pt x="177800" y="482600"/>
                </a:lnTo>
                <a:lnTo>
                  <a:pt x="0" y="1270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6382133" y="2858342"/>
            <a:ext cx="447841" cy="206105"/>
          </a:xfrm>
          <a:custGeom>
            <a:avLst/>
            <a:gdLst>
              <a:gd name="connsiteX0" fmla="*/ 459582 w 492919"/>
              <a:gd name="connsiteY0" fmla="*/ 364331 h 466725"/>
              <a:gd name="connsiteX1" fmla="*/ 492919 w 492919"/>
              <a:gd name="connsiteY1" fmla="*/ 104775 h 466725"/>
              <a:gd name="connsiteX2" fmla="*/ 116682 w 492919"/>
              <a:gd name="connsiteY2" fmla="*/ 0 h 466725"/>
              <a:gd name="connsiteX3" fmla="*/ 47625 w 492919"/>
              <a:gd name="connsiteY3" fmla="*/ 95250 h 466725"/>
              <a:gd name="connsiteX4" fmla="*/ 0 w 492919"/>
              <a:gd name="connsiteY4" fmla="*/ 90488 h 466725"/>
              <a:gd name="connsiteX5" fmla="*/ 188119 w 492919"/>
              <a:gd name="connsiteY5" fmla="*/ 466725 h 466725"/>
              <a:gd name="connsiteX6" fmla="*/ 319088 w 492919"/>
              <a:gd name="connsiteY6" fmla="*/ 342900 h 466725"/>
              <a:gd name="connsiteX7" fmla="*/ 352425 w 492919"/>
              <a:gd name="connsiteY7" fmla="*/ 347663 h 466725"/>
              <a:gd name="connsiteX8" fmla="*/ 459582 w 492919"/>
              <a:gd name="connsiteY8" fmla="*/ 364331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919" h="466725">
                <a:moveTo>
                  <a:pt x="459582" y="364331"/>
                </a:moveTo>
                <a:lnTo>
                  <a:pt x="492919" y="104775"/>
                </a:lnTo>
                <a:lnTo>
                  <a:pt x="116682" y="0"/>
                </a:lnTo>
                <a:lnTo>
                  <a:pt x="47625" y="95250"/>
                </a:lnTo>
                <a:lnTo>
                  <a:pt x="0" y="90488"/>
                </a:lnTo>
                <a:lnTo>
                  <a:pt x="188119" y="466725"/>
                </a:lnTo>
                <a:lnTo>
                  <a:pt x="319088" y="342900"/>
                </a:lnTo>
                <a:cubicBezTo>
                  <a:pt x="347625" y="348089"/>
                  <a:pt x="336407" y="347663"/>
                  <a:pt x="352425" y="347663"/>
                </a:cubicBezTo>
                <a:lnTo>
                  <a:pt x="459582" y="364331"/>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6534297" y="2709722"/>
            <a:ext cx="295676" cy="162641"/>
          </a:xfrm>
          <a:custGeom>
            <a:avLst/>
            <a:gdLst>
              <a:gd name="connsiteX0" fmla="*/ 0 w 330200"/>
              <a:gd name="connsiteY0" fmla="*/ 19050 h 368300"/>
              <a:gd name="connsiteX1" fmla="*/ 95250 w 330200"/>
              <a:gd name="connsiteY1" fmla="*/ 31750 h 368300"/>
              <a:gd name="connsiteX2" fmla="*/ 152400 w 330200"/>
              <a:gd name="connsiteY2" fmla="*/ 0 h 368300"/>
              <a:gd name="connsiteX3" fmla="*/ 330200 w 330200"/>
              <a:gd name="connsiteY3" fmla="*/ 368300 h 368300"/>
              <a:gd name="connsiteX4" fmla="*/ 31750 w 330200"/>
              <a:gd name="connsiteY4" fmla="*/ 165100 h 368300"/>
              <a:gd name="connsiteX5" fmla="*/ 0 w 330200"/>
              <a:gd name="connsiteY5" fmla="*/ 19050 h 368300"/>
              <a:gd name="connsiteX0dup0" fmla="*/ 0 w 330200"/>
              <a:gd name="connsiteY0dup0" fmla="*/ 30956 h 368300"/>
              <a:gd name="connsiteX1dup0" fmla="*/ 95250 w 330200"/>
              <a:gd name="connsiteY1dup0" fmla="*/ 31750 h 368300"/>
              <a:gd name="connsiteX2dup0" fmla="*/ 152400 w 330200"/>
              <a:gd name="connsiteY2dup0" fmla="*/ 0 h 368300"/>
              <a:gd name="connsiteX3dup0" fmla="*/ 330200 w 330200"/>
              <a:gd name="connsiteY3dup0" fmla="*/ 368300 h 368300"/>
              <a:gd name="connsiteX4dup0" fmla="*/ 31750 w 330200"/>
              <a:gd name="connsiteY4dup0" fmla="*/ 165100 h 368300"/>
              <a:gd name="connsiteX5dup0" fmla="*/ 0 w 330200"/>
              <a:gd name="connsiteY5dup0" fmla="*/ 30956 h 368300"/>
              <a:gd name="connsiteX0dup0dup1" fmla="*/ 0 w 323056"/>
              <a:gd name="connsiteY0dup0dup1" fmla="*/ 16669 h 368300"/>
              <a:gd name="connsiteX1dup0dup1" fmla="*/ 88106 w 323056"/>
              <a:gd name="connsiteY1dup0dup1" fmla="*/ 31750 h 368300"/>
              <a:gd name="connsiteX2dup0dup1" fmla="*/ 145256 w 323056"/>
              <a:gd name="connsiteY2dup0dup1" fmla="*/ 0 h 368300"/>
              <a:gd name="connsiteX3dup0dup1" fmla="*/ 323056 w 323056"/>
              <a:gd name="connsiteY3dup0dup1" fmla="*/ 368300 h 368300"/>
              <a:gd name="connsiteX4dup0dup1" fmla="*/ 24606 w 323056"/>
              <a:gd name="connsiteY4dup0dup1" fmla="*/ 165100 h 368300"/>
              <a:gd name="connsiteX5dup0dup1" fmla="*/ 0 w 323056"/>
              <a:gd name="connsiteY5dup0dup1" fmla="*/ 16669 h 368300"/>
              <a:gd name="connsiteX0dup0dup1dup2" fmla="*/ 0 w 325437"/>
              <a:gd name="connsiteY0dup0dup1dup2" fmla="*/ 21431 h 368300"/>
              <a:gd name="connsiteX1dup0dup1dup2" fmla="*/ 90487 w 325437"/>
              <a:gd name="connsiteY1dup0dup1dup2" fmla="*/ 31750 h 368300"/>
              <a:gd name="connsiteX2dup0dup1dup2" fmla="*/ 147637 w 325437"/>
              <a:gd name="connsiteY2dup0dup1dup2" fmla="*/ 0 h 368300"/>
              <a:gd name="connsiteX3dup0dup1dup2" fmla="*/ 325437 w 325437"/>
              <a:gd name="connsiteY3dup0dup1dup2" fmla="*/ 368300 h 368300"/>
              <a:gd name="connsiteX4dup0dup1dup2" fmla="*/ 26987 w 325437"/>
              <a:gd name="connsiteY4dup0dup1dup2" fmla="*/ 165100 h 368300"/>
              <a:gd name="connsiteX5dup0dup1dup2" fmla="*/ 0 w 325437"/>
              <a:gd name="connsiteY5dup0dup1dup2" fmla="*/ 21431 h 368300"/>
              <a:gd name="connsiteX0dup0dup1dup2dup3" fmla="*/ 0 w 325437"/>
              <a:gd name="connsiteY0dup0dup1dup2dup3" fmla="*/ 28575 h 368300"/>
              <a:gd name="connsiteX1dup0dup1dup2dup3" fmla="*/ 90487 w 325437"/>
              <a:gd name="connsiteY1dup0dup1dup2dup3" fmla="*/ 31750 h 368300"/>
              <a:gd name="connsiteX2dup0dup1dup2dup3" fmla="*/ 147637 w 325437"/>
              <a:gd name="connsiteY2dup0dup1dup2dup3" fmla="*/ 0 h 368300"/>
              <a:gd name="connsiteX3dup0dup1dup2dup3" fmla="*/ 325437 w 325437"/>
              <a:gd name="connsiteY3dup0dup1dup2dup3" fmla="*/ 368300 h 368300"/>
              <a:gd name="connsiteX4dup0dup1dup2dup3" fmla="*/ 26987 w 325437"/>
              <a:gd name="connsiteY4dup0dup1dup2dup3" fmla="*/ 165100 h 368300"/>
              <a:gd name="connsiteX5dup0dup1dup2dup3" fmla="*/ 0 w 325437"/>
              <a:gd name="connsiteY5dup0dup1dup2dup3" fmla="*/ 28575 h 368300"/>
              <a:gd name="connsiteX0dup0dup1dup2dup3dup4" fmla="*/ 0 w 325437"/>
              <a:gd name="connsiteY0dup0dup1dup2dup3dup4" fmla="*/ 21431 h 368300"/>
              <a:gd name="connsiteX1dup0dup1dup2dup3dup4" fmla="*/ 90487 w 325437"/>
              <a:gd name="connsiteY1dup0dup1dup2dup3dup4" fmla="*/ 31750 h 368300"/>
              <a:gd name="connsiteX2dup0dup1dup2dup3dup4" fmla="*/ 147637 w 325437"/>
              <a:gd name="connsiteY2dup0dup1dup2dup3dup4" fmla="*/ 0 h 368300"/>
              <a:gd name="connsiteX3dup0dup1dup2dup3dup4" fmla="*/ 325437 w 325437"/>
              <a:gd name="connsiteY3dup0dup1dup2dup3dup4" fmla="*/ 368300 h 368300"/>
              <a:gd name="connsiteX4dup0dup1dup2dup3dup4" fmla="*/ 26987 w 325437"/>
              <a:gd name="connsiteY4dup0dup1dup2dup3dup4" fmla="*/ 165100 h 368300"/>
              <a:gd name="connsiteX5dup0dup1dup2dup3dup4" fmla="*/ 0 w 325437"/>
              <a:gd name="connsiteY5dup0dup1dup2dup3dup4" fmla="*/ 21431 h 368300"/>
            </a:gdLst>
            <a:ahLst/>
            <a:cxnLst>
              <a:cxn ang="0">
                <a:pos x="connsiteX0dup0dup1dup2dup3dup4" y="connsiteY0dup0dup1dup2dup3dup4"/>
              </a:cxn>
              <a:cxn ang="0">
                <a:pos x="connsiteX1dup0dup1dup2dup3dup4" y="connsiteY1dup0dup1dup2dup3dup4"/>
              </a:cxn>
              <a:cxn ang="0">
                <a:pos x="connsiteX2dup0dup1dup2dup3dup4" y="connsiteY2dup0dup1dup2dup3dup4"/>
              </a:cxn>
              <a:cxn ang="0">
                <a:pos x="connsiteX3dup0dup1dup2dup3dup4" y="connsiteY3dup0dup1dup2dup3dup4"/>
              </a:cxn>
              <a:cxn ang="0">
                <a:pos x="connsiteX4dup0dup1dup2dup3dup4" y="connsiteY4dup0dup1dup2dup3dup4"/>
              </a:cxn>
              <a:cxn ang="0">
                <a:pos x="connsiteX5dup0dup1dup2dup3dup4" y="connsiteY5dup0dup1dup2dup3dup4"/>
              </a:cxn>
            </a:cxnLst>
            <a:rect l="l" t="t" r="r" b="b"/>
            <a:pathLst>
              <a:path w="325437" h="368300">
                <a:moveTo>
                  <a:pt x="0" y="21431"/>
                </a:moveTo>
                <a:lnTo>
                  <a:pt x="90487" y="31750"/>
                </a:lnTo>
                <a:lnTo>
                  <a:pt x="147637" y="0"/>
                </a:lnTo>
                <a:lnTo>
                  <a:pt x="325437" y="368300"/>
                </a:lnTo>
                <a:lnTo>
                  <a:pt x="26987" y="165100"/>
                </a:lnTo>
                <a:lnTo>
                  <a:pt x="0" y="21431"/>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7" name="자유형 136"/>
          <p:cNvSpPr/>
          <p:nvPr/>
        </p:nvSpPr>
        <p:spPr>
          <a:xfrm>
            <a:off x="6460884" y="2775900"/>
            <a:ext cx="379920" cy="133337"/>
          </a:xfrm>
          <a:custGeom>
            <a:avLst/>
            <a:gdLst>
              <a:gd name="connsiteX0" fmla="*/ 0 w 403860"/>
              <a:gd name="connsiteY0" fmla="*/ 45720 h 297180"/>
              <a:gd name="connsiteX1" fmla="*/ 76200 w 403860"/>
              <a:gd name="connsiteY1" fmla="*/ 0 h 297180"/>
              <a:gd name="connsiteX2" fmla="*/ 403860 w 403860"/>
              <a:gd name="connsiteY2" fmla="*/ 213360 h 297180"/>
              <a:gd name="connsiteX3" fmla="*/ 388620 w 403860"/>
              <a:gd name="connsiteY3" fmla="*/ 297180 h 297180"/>
              <a:gd name="connsiteX4" fmla="*/ 15240 w 403860"/>
              <a:gd name="connsiteY4" fmla="*/ 190500 h 297180"/>
              <a:gd name="connsiteX5" fmla="*/ 0 w 403860"/>
              <a:gd name="connsiteY5" fmla="*/ 45720 h 297180"/>
              <a:gd name="connsiteX0dup0" fmla="*/ 0 w 405289"/>
              <a:gd name="connsiteY0dup0" fmla="*/ 45720 h 301942"/>
              <a:gd name="connsiteX1dup0" fmla="*/ 76200 w 405289"/>
              <a:gd name="connsiteY1dup0" fmla="*/ 0 h 301942"/>
              <a:gd name="connsiteX2dup0" fmla="*/ 403860 w 405289"/>
              <a:gd name="connsiteY2dup0" fmla="*/ 213360 h 301942"/>
              <a:gd name="connsiteX3dup0" fmla="*/ 405289 w 405289"/>
              <a:gd name="connsiteY3dup0" fmla="*/ 301942 h 301942"/>
              <a:gd name="connsiteX4dup0" fmla="*/ 15240 w 405289"/>
              <a:gd name="connsiteY4dup0" fmla="*/ 190500 h 301942"/>
              <a:gd name="connsiteX5dup0" fmla="*/ 0 w 405289"/>
              <a:gd name="connsiteY5dup0" fmla="*/ 45720 h 301942"/>
              <a:gd name="connsiteX0dup0dup1" fmla="*/ 0 w 415780"/>
              <a:gd name="connsiteY0dup0dup1" fmla="*/ 45720 h 301942"/>
              <a:gd name="connsiteX1dup0dup1" fmla="*/ 76200 w 415780"/>
              <a:gd name="connsiteY1dup0dup1" fmla="*/ 0 h 301942"/>
              <a:gd name="connsiteX2dup0dup1" fmla="*/ 415766 w 415780"/>
              <a:gd name="connsiteY2dup0dup1" fmla="*/ 213360 h 301942"/>
              <a:gd name="connsiteX3dup0dup1" fmla="*/ 405289 w 415780"/>
              <a:gd name="connsiteY3dup0dup1" fmla="*/ 301942 h 301942"/>
              <a:gd name="connsiteX4dup0dup1" fmla="*/ 15240 w 415780"/>
              <a:gd name="connsiteY4dup0dup1" fmla="*/ 190500 h 301942"/>
              <a:gd name="connsiteX5dup0dup1" fmla="*/ 0 w 415780"/>
              <a:gd name="connsiteY5dup0dup1" fmla="*/ 45720 h 301942"/>
              <a:gd name="connsiteX0dup0dup1dup2" fmla="*/ 0 w 418161"/>
              <a:gd name="connsiteY0dup0dup1dup2" fmla="*/ 29051 h 301942"/>
              <a:gd name="connsiteX1dup0dup1dup2" fmla="*/ 78581 w 418161"/>
              <a:gd name="connsiteY1dup0dup1dup2" fmla="*/ 0 h 301942"/>
              <a:gd name="connsiteX2dup0dup1dup2" fmla="*/ 418147 w 418161"/>
              <a:gd name="connsiteY2dup0dup1dup2" fmla="*/ 213360 h 301942"/>
              <a:gd name="connsiteX3dup0dup1dup2" fmla="*/ 407670 w 418161"/>
              <a:gd name="connsiteY3dup0dup1dup2" fmla="*/ 301942 h 301942"/>
              <a:gd name="connsiteX4dup0dup1dup2" fmla="*/ 17621 w 418161"/>
              <a:gd name="connsiteY4dup0dup1dup2" fmla="*/ 190500 h 301942"/>
              <a:gd name="connsiteX5dup0dup1dup2" fmla="*/ 0 w 418161"/>
              <a:gd name="connsiteY5dup0dup1dup2" fmla="*/ 29051 h 301942"/>
              <a:gd name="connsiteX0dup0dup1dup2dup3" fmla="*/ 0 w 418161"/>
              <a:gd name="connsiteY0dup0dup1dup2dup3" fmla="*/ 29051 h 301942"/>
              <a:gd name="connsiteX1dup0dup1dup2dup3" fmla="*/ 114299 w 418161"/>
              <a:gd name="connsiteY1dup0dup1dup2dup3" fmla="*/ 0 h 301942"/>
              <a:gd name="connsiteX2dup0dup1dup2dup3" fmla="*/ 418147 w 418161"/>
              <a:gd name="connsiteY2dup0dup1dup2dup3" fmla="*/ 213360 h 301942"/>
              <a:gd name="connsiteX3dup0dup1dup2dup3" fmla="*/ 407670 w 418161"/>
              <a:gd name="connsiteY3dup0dup1dup2dup3" fmla="*/ 301942 h 301942"/>
              <a:gd name="connsiteX4dup0dup1dup2dup3" fmla="*/ 17621 w 418161"/>
              <a:gd name="connsiteY4dup0dup1dup2dup3" fmla="*/ 190500 h 301942"/>
              <a:gd name="connsiteX5dup0dup1dup2dup3" fmla="*/ 0 w 418161"/>
              <a:gd name="connsiteY5dup0dup1dup2dup3" fmla="*/ 29051 h 301942"/>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Lst>
            <a:rect l="l" t="t" r="r" b="b"/>
            <a:pathLst>
              <a:path w="418161" h="301942">
                <a:moveTo>
                  <a:pt x="0" y="29051"/>
                </a:moveTo>
                <a:lnTo>
                  <a:pt x="114299" y="0"/>
                </a:lnTo>
                <a:lnTo>
                  <a:pt x="418147" y="213360"/>
                </a:lnTo>
                <a:cubicBezTo>
                  <a:pt x="418623" y="242887"/>
                  <a:pt x="407194" y="272415"/>
                  <a:pt x="407670" y="301942"/>
                </a:cubicBezTo>
                <a:lnTo>
                  <a:pt x="17621" y="190500"/>
                </a:lnTo>
                <a:lnTo>
                  <a:pt x="0" y="29051"/>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8" name="자유형 137"/>
          <p:cNvSpPr/>
          <p:nvPr/>
        </p:nvSpPr>
        <p:spPr>
          <a:xfrm>
            <a:off x="6310738" y="2715330"/>
            <a:ext cx="103847" cy="114970"/>
          </a:xfrm>
          <a:custGeom>
            <a:avLst/>
            <a:gdLst>
              <a:gd name="connsiteX0" fmla="*/ 0 w 114300"/>
              <a:gd name="connsiteY0" fmla="*/ 0 h 260350"/>
              <a:gd name="connsiteX1" fmla="*/ 114300 w 114300"/>
              <a:gd name="connsiteY1" fmla="*/ 31750 h 260350"/>
              <a:gd name="connsiteX2" fmla="*/ 82550 w 114300"/>
              <a:gd name="connsiteY2" fmla="*/ 260350 h 260350"/>
              <a:gd name="connsiteX3" fmla="*/ 0 w 114300"/>
              <a:gd name="connsiteY3" fmla="*/ 260350 h 260350"/>
              <a:gd name="connsiteX4" fmla="*/ 0 w 114300"/>
              <a:gd name="connsiteY4" fmla="*/ 0 h 26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60350">
                <a:moveTo>
                  <a:pt x="0" y="0"/>
                </a:moveTo>
                <a:lnTo>
                  <a:pt x="114300" y="31750"/>
                </a:lnTo>
                <a:lnTo>
                  <a:pt x="82550" y="260350"/>
                </a:lnTo>
                <a:lnTo>
                  <a:pt x="0" y="260350"/>
                </a:lnTo>
                <a:lnTo>
                  <a:pt x="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9" name="자유형 138"/>
          <p:cNvSpPr/>
          <p:nvPr/>
        </p:nvSpPr>
        <p:spPr>
          <a:xfrm>
            <a:off x="6408816" y="2720939"/>
            <a:ext cx="155770" cy="75712"/>
          </a:xfrm>
          <a:custGeom>
            <a:avLst/>
            <a:gdLst>
              <a:gd name="connsiteX0" fmla="*/ 12700 w 171450"/>
              <a:gd name="connsiteY0" fmla="*/ 19050 h 171450"/>
              <a:gd name="connsiteX1" fmla="*/ 139700 w 171450"/>
              <a:gd name="connsiteY1" fmla="*/ 0 h 171450"/>
              <a:gd name="connsiteX2" fmla="*/ 171450 w 171450"/>
              <a:gd name="connsiteY2" fmla="*/ 127000 h 171450"/>
              <a:gd name="connsiteX3" fmla="*/ 0 w 171450"/>
              <a:gd name="connsiteY3" fmla="*/ 171450 h 171450"/>
              <a:gd name="connsiteX4" fmla="*/ 12700 w 171450"/>
              <a:gd name="connsiteY4" fmla="*/ 1905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2700" y="19050"/>
                </a:moveTo>
                <a:lnTo>
                  <a:pt x="139700" y="0"/>
                </a:lnTo>
                <a:lnTo>
                  <a:pt x="171450" y="127000"/>
                </a:lnTo>
                <a:lnTo>
                  <a:pt x="0" y="171450"/>
                </a:lnTo>
                <a:lnTo>
                  <a:pt x="12700" y="190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0" name="자유형 139"/>
          <p:cNvSpPr/>
          <p:nvPr/>
        </p:nvSpPr>
        <p:spPr>
          <a:xfrm>
            <a:off x="6304247" y="2829950"/>
            <a:ext cx="118992" cy="70455"/>
          </a:xfrm>
          <a:custGeom>
            <a:avLst/>
            <a:gdLst>
              <a:gd name="connsiteX0" fmla="*/ 85725 w 130969"/>
              <a:gd name="connsiteY0" fmla="*/ 0 h 159544"/>
              <a:gd name="connsiteX1" fmla="*/ 4763 w 130969"/>
              <a:gd name="connsiteY1" fmla="*/ 2382 h 159544"/>
              <a:gd name="connsiteX2" fmla="*/ 0 w 130969"/>
              <a:gd name="connsiteY2" fmla="*/ 130969 h 159544"/>
              <a:gd name="connsiteX3" fmla="*/ 130969 w 130969"/>
              <a:gd name="connsiteY3" fmla="*/ 159544 h 159544"/>
              <a:gd name="connsiteX4" fmla="*/ 85725 w 130969"/>
              <a:gd name="connsiteY4" fmla="*/ 0 h 15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68" h="159544">
                <a:moveTo>
                  <a:pt x="85725" y="0"/>
                </a:moveTo>
                <a:lnTo>
                  <a:pt x="4763" y="2382"/>
                </a:lnTo>
                <a:lnTo>
                  <a:pt x="0" y="130969"/>
                </a:lnTo>
                <a:lnTo>
                  <a:pt x="130969" y="159544"/>
                </a:lnTo>
                <a:lnTo>
                  <a:pt x="85725"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1" name="자유형 140"/>
          <p:cNvSpPr/>
          <p:nvPr/>
        </p:nvSpPr>
        <p:spPr>
          <a:xfrm>
            <a:off x="6382133" y="2791042"/>
            <a:ext cx="97358" cy="107259"/>
          </a:xfrm>
          <a:custGeom>
            <a:avLst/>
            <a:gdLst>
              <a:gd name="connsiteX0" fmla="*/ 80963 w 107157"/>
              <a:gd name="connsiteY0" fmla="*/ 0 h 230982"/>
              <a:gd name="connsiteX1" fmla="*/ 19050 w 107157"/>
              <a:gd name="connsiteY1" fmla="*/ 0 h 230982"/>
              <a:gd name="connsiteX2" fmla="*/ 0 w 107157"/>
              <a:gd name="connsiteY2" fmla="*/ 73819 h 230982"/>
              <a:gd name="connsiteX3" fmla="*/ 50007 w 107157"/>
              <a:gd name="connsiteY3" fmla="*/ 230982 h 230982"/>
              <a:gd name="connsiteX4" fmla="*/ 107157 w 107157"/>
              <a:gd name="connsiteY4" fmla="*/ 152400 h 230982"/>
              <a:gd name="connsiteX5" fmla="*/ 80963 w 107157"/>
              <a:gd name="connsiteY5" fmla="*/ 0 h 230982"/>
              <a:gd name="connsiteX0dup0" fmla="*/ 85725 w 107157"/>
              <a:gd name="connsiteY0dup0" fmla="*/ 0 h 250032"/>
              <a:gd name="connsiteX1dup0" fmla="*/ 19050 w 107157"/>
              <a:gd name="connsiteY1dup0" fmla="*/ 19050 h 250032"/>
              <a:gd name="connsiteX2dup0" fmla="*/ 0 w 107157"/>
              <a:gd name="connsiteY2dup0" fmla="*/ 92869 h 250032"/>
              <a:gd name="connsiteX3dup0" fmla="*/ 50007 w 107157"/>
              <a:gd name="connsiteY3dup0" fmla="*/ 250032 h 250032"/>
              <a:gd name="connsiteX4dup0" fmla="*/ 107157 w 107157"/>
              <a:gd name="connsiteY4dup0" fmla="*/ 171450 h 250032"/>
              <a:gd name="connsiteX5dup0" fmla="*/ 85725 w 107157"/>
              <a:gd name="connsiteY5dup0" fmla="*/ 0 h 250032"/>
              <a:gd name="connsiteX0dup0dup1" fmla="*/ 88106 w 107157"/>
              <a:gd name="connsiteY0dup0dup1" fmla="*/ 0 h 242888"/>
              <a:gd name="connsiteX1dup0dup1" fmla="*/ 19050 w 107157"/>
              <a:gd name="connsiteY1dup0dup1" fmla="*/ 11906 h 242888"/>
              <a:gd name="connsiteX2dup0dup1" fmla="*/ 0 w 107157"/>
              <a:gd name="connsiteY2dup0dup1" fmla="*/ 85725 h 242888"/>
              <a:gd name="connsiteX3dup0dup1" fmla="*/ 50007 w 107157"/>
              <a:gd name="connsiteY3dup0dup1" fmla="*/ 242888 h 242888"/>
              <a:gd name="connsiteX4dup0dup1" fmla="*/ 107157 w 107157"/>
              <a:gd name="connsiteY4dup0dup1" fmla="*/ 164306 h 242888"/>
              <a:gd name="connsiteX5dup0dup1" fmla="*/ 88106 w 107157"/>
              <a:gd name="connsiteY5dup0dup1" fmla="*/ 0 h 242888"/>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Lst>
            <a:rect l="l" t="t" r="r" b="b"/>
            <a:pathLst>
              <a:path w="107156" h="242887">
                <a:moveTo>
                  <a:pt x="88106" y="0"/>
                </a:moveTo>
                <a:lnTo>
                  <a:pt x="19050" y="11906"/>
                </a:lnTo>
                <a:lnTo>
                  <a:pt x="0" y="85725"/>
                </a:lnTo>
                <a:lnTo>
                  <a:pt x="50007" y="242888"/>
                </a:lnTo>
                <a:lnTo>
                  <a:pt x="107157" y="164306"/>
                </a:lnTo>
                <a:lnTo>
                  <a:pt x="88106"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2" name="자유형 141"/>
          <p:cNvSpPr/>
          <p:nvPr/>
        </p:nvSpPr>
        <p:spPr>
          <a:xfrm>
            <a:off x="5228997" y="2839415"/>
            <a:ext cx="716112" cy="536294"/>
          </a:xfrm>
          <a:custGeom>
            <a:avLst/>
            <a:gdLst>
              <a:gd name="connsiteX0" fmla="*/ 376238 w 781050"/>
              <a:gd name="connsiteY0" fmla="*/ 1181100 h 1214437"/>
              <a:gd name="connsiteX1" fmla="*/ 661988 w 781050"/>
              <a:gd name="connsiteY1" fmla="*/ 1214437 h 1214437"/>
              <a:gd name="connsiteX2" fmla="*/ 781050 w 781050"/>
              <a:gd name="connsiteY2" fmla="*/ 1000125 h 1214437"/>
              <a:gd name="connsiteX3" fmla="*/ 347663 w 781050"/>
              <a:gd name="connsiteY3" fmla="*/ 4762 h 1214437"/>
              <a:gd name="connsiteX4" fmla="*/ 100013 w 781050"/>
              <a:gd name="connsiteY4" fmla="*/ 0 h 1214437"/>
              <a:gd name="connsiteX5" fmla="*/ 0 w 781050"/>
              <a:gd name="connsiteY5" fmla="*/ 219075 h 1214437"/>
              <a:gd name="connsiteX6" fmla="*/ 371475 w 781050"/>
              <a:gd name="connsiteY6" fmla="*/ 995362 h 1214437"/>
              <a:gd name="connsiteX7" fmla="*/ 376238 w 781050"/>
              <a:gd name="connsiteY7" fmla="*/ 1181100 h 1214437"/>
              <a:gd name="connsiteX0dup0" fmla="*/ 364332 w 781050"/>
              <a:gd name="connsiteY0dup0" fmla="*/ 1181100 h 1214437"/>
              <a:gd name="connsiteX1dup0" fmla="*/ 661988 w 781050"/>
              <a:gd name="connsiteY1dup0" fmla="*/ 1214437 h 1214437"/>
              <a:gd name="connsiteX2dup0" fmla="*/ 781050 w 781050"/>
              <a:gd name="connsiteY2dup0" fmla="*/ 1000125 h 1214437"/>
              <a:gd name="connsiteX3dup0" fmla="*/ 347663 w 781050"/>
              <a:gd name="connsiteY3dup0" fmla="*/ 4762 h 1214437"/>
              <a:gd name="connsiteX4dup0" fmla="*/ 100013 w 781050"/>
              <a:gd name="connsiteY4dup0" fmla="*/ 0 h 1214437"/>
              <a:gd name="connsiteX5dup0" fmla="*/ 0 w 781050"/>
              <a:gd name="connsiteY5dup0" fmla="*/ 219075 h 1214437"/>
              <a:gd name="connsiteX6dup0" fmla="*/ 371475 w 781050"/>
              <a:gd name="connsiteY6dup0" fmla="*/ 995362 h 1214437"/>
              <a:gd name="connsiteX7dup0" fmla="*/ 364332 w 781050"/>
              <a:gd name="connsiteY7dup0" fmla="*/ 1181100 h 1214437"/>
              <a:gd name="connsiteX0dup0dup1" fmla="*/ 364332 w 788193"/>
              <a:gd name="connsiteY0dup0dup1" fmla="*/ 1181100 h 1214437"/>
              <a:gd name="connsiteX1dup0dup1" fmla="*/ 661988 w 788193"/>
              <a:gd name="connsiteY1dup0dup1" fmla="*/ 1214437 h 1214437"/>
              <a:gd name="connsiteX2dup0dup1" fmla="*/ 788193 w 788193"/>
              <a:gd name="connsiteY2dup0dup1" fmla="*/ 1004888 h 1214437"/>
              <a:gd name="connsiteX3dup0dup1" fmla="*/ 347663 w 788193"/>
              <a:gd name="connsiteY3dup0dup1" fmla="*/ 4762 h 1214437"/>
              <a:gd name="connsiteX4dup0dup1" fmla="*/ 100013 w 788193"/>
              <a:gd name="connsiteY4dup0dup1" fmla="*/ 0 h 1214437"/>
              <a:gd name="connsiteX5dup0dup1" fmla="*/ 0 w 788193"/>
              <a:gd name="connsiteY5dup0dup1" fmla="*/ 219075 h 1214437"/>
              <a:gd name="connsiteX6dup0dup1" fmla="*/ 371475 w 788193"/>
              <a:gd name="connsiteY6dup0dup1" fmla="*/ 995362 h 1214437"/>
              <a:gd name="connsiteX7dup0dup1" fmla="*/ 364332 w 788193"/>
              <a:gd name="connsiteY7dup0dup1" fmla="*/ 1181100 h 1214437"/>
              <a:gd name="connsiteX0dup0dup1dup2" fmla="*/ 364332 w 788193"/>
              <a:gd name="connsiteY0dup0dup1dup2" fmla="*/ 1181100 h 1214437"/>
              <a:gd name="connsiteX1dup0dup1dup2" fmla="*/ 661988 w 788193"/>
              <a:gd name="connsiteY1dup0dup1dup2" fmla="*/ 1214437 h 1214437"/>
              <a:gd name="connsiteX2dup0dup1dup2" fmla="*/ 788193 w 788193"/>
              <a:gd name="connsiteY2dup0dup1dup2" fmla="*/ 1004888 h 1214437"/>
              <a:gd name="connsiteX3dup0dup1dup2" fmla="*/ 354807 w 788193"/>
              <a:gd name="connsiteY3dup0dup1dup2" fmla="*/ 7144 h 1214437"/>
              <a:gd name="connsiteX4dup0dup1dup2" fmla="*/ 100013 w 788193"/>
              <a:gd name="connsiteY4dup0dup1dup2" fmla="*/ 0 h 1214437"/>
              <a:gd name="connsiteX5dup0dup1dup2" fmla="*/ 0 w 788193"/>
              <a:gd name="connsiteY5dup0dup1dup2" fmla="*/ 219075 h 1214437"/>
              <a:gd name="connsiteX6dup0dup1dup2" fmla="*/ 371475 w 788193"/>
              <a:gd name="connsiteY6dup0dup1dup2" fmla="*/ 995362 h 1214437"/>
              <a:gd name="connsiteX7dup0dup1dup2" fmla="*/ 364332 w 788193"/>
              <a:gd name="connsiteY7dup0dup1dup2" fmla="*/ 1181100 h 1214437"/>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Lst>
            <a:rect l="l" t="t" r="r" b="b"/>
            <a:pathLst>
              <a:path w="788193" h="1214437">
                <a:moveTo>
                  <a:pt x="364332" y="1181100"/>
                </a:moveTo>
                <a:lnTo>
                  <a:pt x="661988" y="1214437"/>
                </a:lnTo>
                <a:lnTo>
                  <a:pt x="788193" y="1004888"/>
                </a:lnTo>
                <a:lnTo>
                  <a:pt x="354807" y="7144"/>
                </a:lnTo>
                <a:lnTo>
                  <a:pt x="100013" y="0"/>
                </a:lnTo>
                <a:lnTo>
                  <a:pt x="0" y="219075"/>
                </a:lnTo>
                <a:lnTo>
                  <a:pt x="371475" y="995362"/>
                </a:lnTo>
                <a:lnTo>
                  <a:pt x="364332" y="11811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3" name="자유형 142"/>
          <p:cNvSpPr/>
          <p:nvPr/>
        </p:nvSpPr>
        <p:spPr>
          <a:xfrm>
            <a:off x="5553520" y="2843621"/>
            <a:ext cx="367792" cy="170352"/>
          </a:xfrm>
          <a:custGeom>
            <a:avLst/>
            <a:gdLst>
              <a:gd name="connsiteX0" fmla="*/ 166687 w 404812"/>
              <a:gd name="connsiteY0" fmla="*/ 385762 h 385762"/>
              <a:gd name="connsiteX1" fmla="*/ 404812 w 404812"/>
              <a:gd name="connsiteY1" fmla="*/ 223837 h 385762"/>
              <a:gd name="connsiteX2" fmla="*/ 109537 w 404812"/>
              <a:gd name="connsiteY2" fmla="*/ 0 h 385762"/>
              <a:gd name="connsiteX3" fmla="*/ 0 w 404812"/>
              <a:gd name="connsiteY3" fmla="*/ 0 h 385762"/>
              <a:gd name="connsiteX4" fmla="*/ 166687 w 404812"/>
              <a:gd name="connsiteY4" fmla="*/ 385762 h 385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2" h="385762">
                <a:moveTo>
                  <a:pt x="166687" y="385762"/>
                </a:moveTo>
                <a:lnTo>
                  <a:pt x="404812" y="223837"/>
                </a:lnTo>
                <a:lnTo>
                  <a:pt x="109537" y="0"/>
                </a:lnTo>
                <a:lnTo>
                  <a:pt x="0" y="0"/>
                </a:lnTo>
                <a:lnTo>
                  <a:pt x="166687" y="385762"/>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4" name="자유형 143"/>
          <p:cNvSpPr/>
          <p:nvPr/>
        </p:nvSpPr>
        <p:spPr>
          <a:xfrm>
            <a:off x="5670347" y="2740568"/>
            <a:ext cx="359139" cy="201899"/>
          </a:xfrm>
          <a:custGeom>
            <a:avLst/>
            <a:gdLst>
              <a:gd name="connsiteX0" fmla="*/ 271463 w 395288"/>
              <a:gd name="connsiteY0" fmla="*/ 457200 h 457200"/>
              <a:gd name="connsiteX1" fmla="*/ 395288 w 395288"/>
              <a:gd name="connsiteY1" fmla="*/ 371475 h 457200"/>
              <a:gd name="connsiteX2" fmla="*/ 309563 w 395288"/>
              <a:gd name="connsiteY2" fmla="*/ 90488 h 457200"/>
              <a:gd name="connsiteX3" fmla="*/ 180975 w 395288"/>
              <a:gd name="connsiteY3" fmla="*/ 0 h 457200"/>
              <a:gd name="connsiteX4" fmla="*/ 0 w 395288"/>
              <a:gd name="connsiteY4" fmla="*/ 247650 h 457200"/>
              <a:gd name="connsiteX5" fmla="*/ 271463 w 395288"/>
              <a:gd name="connsiteY5"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8" h="457200">
                <a:moveTo>
                  <a:pt x="271463" y="457200"/>
                </a:moveTo>
                <a:lnTo>
                  <a:pt x="395288" y="371475"/>
                </a:lnTo>
                <a:lnTo>
                  <a:pt x="309563" y="90488"/>
                </a:lnTo>
                <a:lnTo>
                  <a:pt x="180975" y="0"/>
                </a:lnTo>
                <a:lnTo>
                  <a:pt x="0" y="247650"/>
                </a:lnTo>
                <a:lnTo>
                  <a:pt x="271463" y="4572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5" name="자유형 144"/>
          <p:cNvSpPr/>
          <p:nvPr/>
        </p:nvSpPr>
        <p:spPr>
          <a:xfrm>
            <a:off x="5837656" y="2681681"/>
            <a:ext cx="363465" cy="218724"/>
          </a:xfrm>
          <a:custGeom>
            <a:avLst/>
            <a:gdLst>
              <a:gd name="connsiteX0" fmla="*/ 215900 w 400050"/>
              <a:gd name="connsiteY0" fmla="*/ 495300 h 495300"/>
              <a:gd name="connsiteX1" fmla="*/ 114300 w 400050"/>
              <a:gd name="connsiteY1" fmla="*/ 209550 h 495300"/>
              <a:gd name="connsiteX2" fmla="*/ 0 w 400050"/>
              <a:gd name="connsiteY2" fmla="*/ 133350 h 495300"/>
              <a:gd name="connsiteX3" fmla="*/ 19050 w 400050"/>
              <a:gd name="connsiteY3" fmla="*/ 101600 h 495300"/>
              <a:gd name="connsiteX4" fmla="*/ 355600 w 400050"/>
              <a:gd name="connsiteY4" fmla="*/ 0 h 495300"/>
              <a:gd name="connsiteX5" fmla="*/ 400050 w 400050"/>
              <a:gd name="connsiteY5" fmla="*/ 19050 h 495300"/>
              <a:gd name="connsiteX6" fmla="*/ 361950 w 400050"/>
              <a:gd name="connsiteY6" fmla="*/ 457200 h 495300"/>
              <a:gd name="connsiteX7" fmla="*/ 215900 w 40005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95300">
                <a:moveTo>
                  <a:pt x="215900" y="495300"/>
                </a:moveTo>
                <a:lnTo>
                  <a:pt x="114300" y="209550"/>
                </a:lnTo>
                <a:lnTo>
                  <a:pt x="0" y="133350"/>
                </a:lnTo>
                <a:lnTo>
                  <a:pt x="19050" y="101600"/>
                </a:lnTo>
                <a:lnTo>
                  <a:pt x="355600" y="0"/>
                </a:lnTo>
                <a:lnTo>
                  <a:pt x="400050" y="19050"/>
                </a:lnTo>
                <a:lnTo>
                  <a:pt x="361950" y="457200"/>
                </a:lnTo>
                <a:lnTo>
                  <a:pt x="215900" y="4953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6" name="자유형 145"/>
          <p:cNvSpPr/>
          <p:nvPr/>
        </p:nvSpPr>
        <p:spPr>
          <a:xfrm>
            <a:off x="6172275" y="2688340"/>
            <a:ext cx="138463" cy="195239"/>
          </a:xfrm>
          <a:custGeom>
            <a:avLst/>
            <a:gdLst>
              <a:gd name="connsiteX0" fmla="*/ 25400 w 152400"/>
              <a:gd name="connsiteY0" fmla="*/ 0 h 425450"/>
              <a:gd name="connsiteX1" fmla="*/ 152400 w 152400"/>
              <a:gd name="connsiteY1" fmla="*/ 50800 h 425450"/>
              <a:gd name="connsiteX2" fmla="*/ 146050 w 152400"/>
              <a:gd name="connsiteY2" fmla="*/ 425450 h 425450"/>
              <a:gd name="connsiteX3" fmla="*/ 0 w 152400"/>
              <a:gd name="connsiteY3" fmla="*/ 419100 h 425450"/>
              <a:gd name="connsiteX4" fmla="*/ 25400 w 152400"/>
              <a:gd name="connsiteY4" fmla="*/ 0 h 425450"/>
              <a:gd name="connsiteX0dup0" fmla="*/ 30162 w 152400"/>
              <a:gd name="connsiteY0dup0" fmla="*/ 0 h 442119"/>
              <a:gd name="connsiteX1dup0" fmla="*/ 152400 w 152400"/>
              <a:gd name="connsiteY1dup0" fmla="*/ 67469 h 442119"/>
              <a:gd name="connsiteX2dup0" fmla="*/ 146050 w 152400"/>
              <a:gd name="connsiteY2dup0" fmla="*/ 442119 h 442119"/>
              <a:gd name="connsiteX3dup0" fmla="*/ 0 w 152400"/>
              <a:gd name="connsiteY3dup0" fmla="*/ 435769 h 442119"/>
              <a:gd name="connsiteX4dup0" fmla="*/ 30162 w 152400"/>
              <a:gd name="connsiteY4dup0" fmla="*/ 0 h 442119"/>
              <a:gd name="connsiteX0dup0dup1" fmla="*/ 30162 w 152400"/>
              <a:gd name="connsiteY0dup0dup1" fmla="*/ 0 h 442119"/>
              <a:gd name="connsiteX1dup0dup1" fmla="*/ 152400 w 152400"/>
              <a:gd name="connsiteY1dup0dup1" fmla="*/ 57944 h 442119"/>
              <a:gd name="connsiteX2dup0dup1" fmla="*/ 146050 w 152400"/>
              <a:gd name="connsiteY2dup0dup1" fmla="*/ 442119 h 442119"/>
              <a:gd name="connsiteX3dup0dup1" fmla="*/ 0 w 152400"/>
              <a:gd name="connsiteY3dup0dup1" fmla="*/ 435769 h 442119"/>
              <a:gd name="connsiteX4dup0dup1" fmla="*/ 30162 w 152400"/>
              <a:gd name="connsiteY4dup0dup1" fmla="*/ 0 h 442119"/>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Lst>
            <a:rect l="l" t="t" r="r" b="b"/>
            <a:pathLst>
              <a:path w="152400" h="442119">
                <a:moveTo>
                  <a:pt x="30162" y="0"/>
                </a:moveTo>
                <a:lnTo>
                  <a:pt x="152400" y="57944"/>
                </a:lnTo>
                <a:lnTo>
                  <a:pt x="146050" y="442119"/>
                </a:lnTo>
                <a:lnTo>
                  <a:pt x="0" y="435769"/>
                </a:lnTo>
                <a:lnTo>
                  <a:pt x="30162"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7" name="TextBox 146"/>
          <p:cNvSpPr txBox="1"/>
          <p:nvPr/>
        </p:nvSpPr>
        <p:spPr>
          <a:xfrm>
            <a:off x="5769816" y="3546061"/>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노형동</a:t>
            </a:r>
          </a:p>
        </p:txBody>
      </p:sp>
      <p:sp>
        <p:nvSpPr>
          <p:cNvPr id="148" name="TextBox 147"/>
          <p:cNvSpPr txBox="1"/>
          <p:nvPr/>
        </p:nvSpPr>
        <p:spPr>
          <a:xfrm>
            <a:off x="5491603" y="3109761"/>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외도동</a:t>
            </a:r>
          </a:p>
        </p:txBody>
      </p:sp>
      <p:sp>
        <p:nvSpPr>
          <p:cNvPr id="149" name="TextBox 148"/>
          <p:cNvSpPr txBox="1"/>
          <p:nvPr/>
        </p:nvSpPr>
        <p:spPr>
          <a:xfrm>
            <a:off x="5541996" y="2897573"/>
            <a:ext cx="425219"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이호동</a:t>
            </a:r>
          </a:p>
        </p:txBody>
      </p:sp>
      <p:sp>
        <p:nvSpPr>
          <p:cNvPr id="150" name="TextBox 149"/>
          <p:cNvSpPr txBox="1"/>
          <p:nvPr/>
        </p:nvSpPr>
        <p:spPr>
          <a:xfrm>
            <a:off x="4821913" y="2743213"/>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도두동</a:t>
            </a:r>
          </a:p>
        </p:txBody>
      </p:sp>
      <p:sp>
        <p:nvSpPr>
          <p:cNvPr id="151" name="TextBox 150"/>
          <p:cNvSpPr txBox="1"/>
          <p:nvPr/>
        </p:nvSpPr>
        <p:spPr>
          <a:xfrm>
            <a:off x="5720638" y="2732151"/>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용담</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52" name="TextBox 151"/>
          <p:cNvSpPr txBox="1"/>
          <p:nvPr/>
        </p:nvSpPr>
        <p:spPr>
          <a:xfrm>
            <a:off x="6378863" y="3594561"/>
            <a:ext cx="425219"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연동</a:t>
            </a:r>
          </a:p>
        </p:txBody>
      </p:sp>
      <p:sp>
        <p:nvSpPr>
          <p:cNvPr id="153" name="TextBox 152"/>
          <p:cNvSpPr txBox="1"/>
          <p:nvPr/>
        </p:nvSpPr>
        <p:spPr>
          <a:xfrm>
            <a:off x="6634929" y="3787826"/>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오라동</a:t>
            </a:r>
          </a:p>
        </p:txBody>
      </p:sp>
      <p:sp>
        <p:nvSpPr>
          <p:cNvPr id="154" name="TextBox 153"/>
          <p:cNvSpPr txBox="1"/>
          <p:nvPr/>
        </p:nvSpPr>
        <p:spPr>
          <a:xfrm>
            <a:off x="6985216" y="3441391"/>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아라동</a:t>
            </a:r>
          </a:p>
        </p:txBody>
      </p:sp>
      <p:sp>
        <p:nvSpPr>
          <p:cNvPr id="155" name="TextBox 154"/>
          <p:cNvSpPr txBox="1"/>
          <p:nvPr/>
        </p:nvSpPr>
        <p:spPr>
          <a:xfrm>
            <a:off x="7331664" y="3107562"/>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봉개동</a:t>
            </a:r>
          </a:p>
        </p:txBody>
      </p:sp>
      <p:sp>
        <p:nvSpPr>
          <p:cNvPr id="156" name="TextBox 155"/>
          <p:cNvSpPr txBox="1"/>
          <p:nvPr/>
        </p:nvSpPr>
        <p:spPr>
          <a:xfrm>
            <a:off x="7144055" y="2776108"/>
            <a:ext cx="425219"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삼양동</a:t>
            </a:r>
          </a:p>
        </p:txBody>
      </p:sp>
      <p:sp>
        <p:nvSpPr>
          <p:cNvPr id="157" name="TextBox 156"/>
          <p:cNvSpPr txBox="1"/>
          <p:nvPr/>
        </p:nvSpPr>
        <p:spPr>
          <a:xfrm>
            <a:off x="6749923" y="2773773"/>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화북동</a:t>
            </a:r>
          </a:p>
        </p:txBody>
      </p:sp>
      <p:sp>
        <p:nvSpPr>
          <p:cNvPr id="158" name="TextBox 157"/>
          <p:cNvSpPr txBox="1"/>
          <p:nvPr/>
        </p:nvSpPr>
        <p:spPr>
          <a:xfrm>
            <a:off x="6403780" y="2954293"/>
            <a:ext cx="513953"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이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59" name="TextBox 158"/>
          <p:cNvSpPr txBox="1"/>
          <p:nvPr/>
        </p:nvSpPr>
        <p:spPr>
          <a:xfrm>
            <a:off x="7660892" y="2887038"/>
            <a:ext cx="490124"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60" name="TextBox 159"/>
          <p:cNvSpPr txBox="1"/>
          <p:nvPr/>
        </p:nvSpPr>
        <p:spPr>
          <a:xfrm>
            <a:off x="7489001" y="2612492"/>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건입동</a:t>
            </a:r>
          </a:p>
        </p:txBody>
      </p:sp>
      <p:cxnSp>
        <p:nvCxnSpPr>
          <p:cNvPr id="161" name="꺾인 연결선 160"/>
          <p:cNvCxnSpPr/>
          <p:nvPr/>
        </p:nvCxnSpPr>
        <p:spPr>
          <a:xfrm>
            <a:off x="5307246" y="2647898"/>
            <a:ext cx="943920" cy="184867"/>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2" name="꺾인 연결선 161"/>
          <p:cNvCxnSpPr/>
          <p:nvPr/>
        </p:nvCxnSpPr>
        <p:spPr>
          <a:xfrm>
            <a:off x="6241506" y="2423687"/>
            <a:ext cx="140960" cy="346104"/>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3" name="꺾인 연결선 162"/>
          <p:cNvCxnSpPr/>
          <p:nvPr/>
        </p:nvCxnSpPr>
        <p:spPr>
          <a:xfrm>
            <a:off x="5801070" y="2569568"/>
            <a:ext cx="534888" cy="283176"/>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4" name="꺾인 연결선 163"/>
          <p:cNvCxnSpPr/>
          <p:nvPr/>
        </p:nvCxnSpPr>
        <p:spPr>
          <a:xfrm rot="10800000" flipV="1">
            <a:off x="6432386" y="2422441"/>
            <a:ext cx="101222" cy="409032"/>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5" name="꺾인 연결선 164"/>
          <p:cNvCxnSpPr/>
          <p:nvPr/>
        </p:nvCxnSpPr>
        <p:spPr>
          <a:xfrm rot="10800000" flipV="1">
            <a:off x="6529699" y="2561354"/>
            <a:ext cx="440496" cy="188784"/>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6" name="꺾인 연결선 165"/>
          <p:cNvCxnSpPr/>
          <p:nvPr/>
        </p:nvCxnSpPr>
        <p:spPr>
          <a:xfrm rot="10800000" flipV="1">
            <a:off x="6655604" y="2664402"/>
            <a:ext cx="755136" cy="94392"/>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167" name="TextBox 166"/>
          <p:cNvSpPr txBox="1"/>
          <p:nvPr/>
        </p:nvSpPr>
        <p:spPr>
          <a:xfrm>
            <a:off x="7041032" y="2495774"/>
            <a:ext cx="621448"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68" name="TextBox 167"/>
          <p:cNvSpPr txBox="1"/>
          <p:nvPr/>
        </p:nvSpPr>
        <p:spPr>
          <a:xfrm>
            <a:off x="6569020" y="2386009"/>
            <a:ext cx="621448"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이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69" name="TextBox 168"/>
          <p:cNvSpPr txBox="1"/>
          <p:nvPr/>
        </p:nvSpPr>
        <p:spPr>
          <a:xfrm>
            <a:off x="4673068" y="2571825"/>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용담</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70" name="TextBox 169"/>
          <p:cNvSpPr txBox="1"/>
          <p:nvPr/>
        </p:nvSpPr>
        <p:spPr>
          <a:xfrm>
            <a:off x="5145080" y="2495774"/>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71" name="TextBox 170"/>
          <p:cNvSpPr txBox="1"/>
          <p:nvPr/>
        </p:nvSpPr>
        <p:spPr>
          <a:xfrm>
            <a:off x="5635230" y="2386009"/>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cxnSp>
        <p:nvCxnSpPr>
          <p:cNvPr id="192" name="꺾인 연결선 191"/>
          <p:cNvCxnSpPr/>
          <p:nvPr/>
        </p:nvCxnSpPr>
        <p:spPr>
          <a:xfrm>
            <a:off x="5241315" y="2785256"/>
            <a:ext cx="534888" cy="62928"/>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93" name="꺾인 연결선 192"/>
          <p:cNvCxnSpPr/>
          <p:nvPr/>
        </p:nvCxnSpPr>
        <p:spPr>
          <a:xfrm rot="16200000" flipH="1">
            <a:off x="7055601" y="2364883"/>
            <a:ext cx="94392" cy="1038312"/>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172" name="자유형 171"/>
          <p:cNvSpPr/>
          <p:nvPr/>
        </p:nvSpPr>
        <p:spPr>
          <a:xfrm>
            <a:off x="5397209" y="4993140"/>
            <a:ext cx="804612" cy="1360517"/>
          </a:xfrm>
          <a:custGeom>
            <a:avLst/>
            <a:gdLst>
              <a:gd name="connsiteX0" fmla="*/ 1708030 w 2122098"/>
              <a:gd name="connsiteY0" fmla="*/ 94890 h 4753154"/>
              <a:gd name="connsiteX1" fmla="*/ 2078966 w 2122098"/>
              <a:gd name="connsiteY1" fmla="*/ 0 h 4753154"/>
              <a:gd name="connsiteX2" fmla="*/ 2122098 w 2122098"/>
              <a:gd name="connsiteY2" fmla="*/ 552090 h 4753154"/>
              <a:gd name="connsiteX3" fmla="*/ 1682151 w 2122098"/>
              <a:gd name="connsiteY3" fmla="*/ 1768415 h 4753154"/>
              <a:gd name="connsiteX4" fmla="*/ 1155940 w 2122098"/>
              <a:gd name="connsiteY4" fmla="*/ 3122762 h 4753154"/>
              <a:gd name="connsiteX5" fmla="*/ 1121434 w 2122098"/>
              <a:gd name="connsiteY5" fmla="*/ 4580626 h 4753154"/>
              <a:gd name="connsiteX6" fmla="*/ 560717 w 2122098"/>
              <a:gd name="connsiteY6" fmla="*/ 4425351 h 4753154"/>
              <a:gd name="connsiteX7" fmla="*/ 276045 w 2122098"/>
              <a:gd name="connsiteY7" fmla="*/ 4753154 h 4753154"/>
              <a:gd name="connsiteX8" fmla="*/ 0 w 2122098"/>
              <a:gd name="connsiteY8" fmla="*/ 2631056 h 4753154"/>
              <a:gd name="connsiteX9" fmla="*/ 1354347 w 2122098"/>
              <a:gd name="connsiteY9" fmla="*/ 1863305 h 4753154"/>
              <a:gd name="connsiteX10" fmla="*/ 1802921 w 2122098"/>
              <a:gd name="connsiteY10" fmla="*/ 448573 h 4753154"/>
              <a:gd name="connsiteX11" fmla="*/ 1708030 w 2122098"/>
              <a:gd name="connsiteY11" fmla="*/ 94890 h 4753154"/>
              <a:gd name="connsiteX0dup0" fmla="*/ 1708030 w 2150090"/>
              <a:gd name="connsiteY0dup0" fmla="*/ 94890 h 4753154"/>
              <a:gd name="connsiteX1dup0" fmla="*/ 2078966 w 2150090"/>
              <a:gd name="connsiteY1dup0" fmla="*/ 0 h 4753154"/>
              <a:gd name="connsiteX2dup0" fmla="*/ 2150090 w 2150090"/>
              <a:gd name="connsiteY2dup0" fmla="*/ 533429 h 4753154"/>
              <a:gd name="connsiteX3dup0" fmla="*/ 1682151 w 2150090"/>
              <a:gd name="connsiteY3dup0" fmla="*/ 1768415 h 4753154"/>
              <a:gd name="connsiteX4dup0" fmla="*/ 1155940 w 2150090"/>
              <a:gd name="connsiteY4dup0" fmla="*/ 3122762 h 4753154"/>
              <a:gd name="connsiteX5dup0" fmla="*/ 1121434 w 2150090"/>
              <a:gd name="connsiteY5dup0" fmla="*/ 4580626 h 4753154"/>
              <a:gd name="connsiteX6dup0" fmla="*/ 560717 w 2150090"/>
              <a:gd name="connsiteY6dup0" fmla="*/ 4425351 h 4753154"/>
              <a:gd name="connsiteX7dup0" fmla="*/ 276045 w 2150090"/>
              <a:gd name="connsiteY7dup0" fmla="*/ 4753154 h 4753154"/>
              <a:gd name="connsiteX8dup0" fmla="*/ 0 w 2150090"/>
              <a:gd name="connsiteY8dup0" fmla="*/ 2631056 h 4753154"/>
              <a:gd name="connsiteX9dup0" fmla="*/ 1354347 w 2150090"/>
              <a:gd name="connsiteY9dup0" fmla="*/ 1863305 h 4753154"/>
              <a:gd name="connsiteX10dup0" fmla="*/ 1802921 w 2150090"/>
              <a:gd name="connsiteY10dup0" fmla="*/ 448573 h 4753154"/>
              <a:gd name="connsiteX11dup0" fmla="*/ 1708030 w 2150090"/>
              <a:gd name="connsiteY11dup0" fmla="*/ 94890 h 4753154"/>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Lst>
            <a:rect l="l" t="t" r="r" b="b"/>
            <a:pathLst>
              <a:path w="2150090" h="4753154">
                <a:moveTo>
                  <a:pt x="1708030" y="94890"/>
                </a:moveTo>
                <a:lnTo>
                  <a:pt x="2078966" y="0"/>
                </a:lnTo>
                <a:lnTo>
                  <a:pt x="2150090" y="533429"/>
                </a:lnTo>
                <a:lnTo>
                  <a:pt x="1682151" y="1768415"/>
                </a:lnTo>
                <a:lnTo>
                  <a:pt x="1155940" y="3122762"/>
                </a:lnTo>
                <a:lnTo>
                  <a:pt x="1121434" y="4580626"/>
                </a:lnTo>
                <a:lnTo>
                  <a:pt x="560717" y="4425351"/>
                </a:lnTo>
                <a:lnTo>
                  <a:pt x="276045" y="4753154"/>
                </a:lnTo>
                <a:lnTo>
                  <a:pt x="0" y="2631056"/>
                </a:lnTo>
                <a:lnTo>
                  <a:pt x="1354347" y="1863305"/>
                </a:lnTo>
                <a:lnTo>
                  <a:pt x="1802921" y="448573"/>
                </a:lnTo>
                <a:lnTo>
                  <a:pt x="1708030" y="9489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3" name="자유형 172"/>
          <p:cNvSpPr/>
          <p:nvPr/>
        </p:nvSpPr>
        <p:spPr>
          <a:xfrm>
            <a:off x="5819510" y="4808016"/>
            <a:ext cx="917684" cy="1629642"/>
          </a:xfrm>
          <a:custGeom>
            <a:avLst/>
            <a:gdLst>
              <a:gd name="connsiteX0" fmla="*/ 1427584 w 2444621"/>
              <a:gd name="connsiteY0" fmla="*/ 5365102 h 5701004"/>
              <a:gd name="connsiteX1" fmla="*/ 1427584 w 2444621"/>
              <a:gd name="connsiteY1" fmla="*/ 4861249 h 5701004"/>
              <a:gd name="connsiteX2" fmla="*/ 1679510 w 2444621"/>
              <a:gd name="connsiteY2" fmla="*/ 4488024 h 5701004"/>
              <a:gd name="connsiteX3" fmla="*/ 1651518 w 2444621"/>
              <a:gd name="connsiteY3" fmla="*/ 3153747 h 5701004"/>
              <a:gd name="connsiteX4" fmla="*/ 1847461 w 2444621"/>
              <a:gd name="connsiteY4" fmla="*/ 1194318 h 5701004"/>
              <a:gd name="connsiteX5" fmla="*/ 2444621 w 2444621"/>
              <a:gd name="connsiteY5" fmla="*/ 0 h 5701004"/>
              <a:gd name="connsiteX6" fmla="*/ 2323323 w 2444621"/>
              <a:gd name="connsiteY6" fmla="*/ 18661 h 5701004"/>
              <a:gd name="connsiteX7" fmla="*/ 942392 w 2444621"/>
              <a:gd name="connsiteY7" fmla="*/ 662473 h 5701004"/>
              <a:gd name="connsiteX8" fmla="*/ 1007706 w 2444621"/>
              <a:gd name="connsiteY8" fmla="*/ 1203649 h 5701004"/>
              <a:gd name="connsiteX9" fmla="*/ 18661 w 2444621"/>
              <a:gd name="connsiteY9" fmla="*/ 3778898 h 5701004"/>
              <a:gd name="connsiteX10" fmla="*/ 0 w 2444621"/>
              <a:gd name="connsiteY10" fmla="*/ 5243804 h 5701004"/>
              <a:gd name="connsiteX11" fmla="*/ 1007706 w 2444621"/>
              <a:gd name="connsiteY11" fmla="*/ 5477069 h 5701004"/>
              <a:gd name="connsiteX12" fmla="*/ 1063690 w 2444621"/>
              <a:gd name="connsiteY12" fmla="*/ 5701004 h 5701004"/>
              <a:gd name="connsiteX13" fmla="*/ 1315616 w 2444621"/>
              <a:gd name="connsiteY13" fmla="*/ 5393093 h 5701004"/>
              <a:gd name="connsiteX14" fmla="*/ 1427584 w 2444621"/>
              <a:gd name="connsiteY14" fmla="*/ 5365102 h 5701004"/>
              <a:gd name="connsiteX0dup0" fmla="*/ 1427584 w 2444621"/>
              <a:gd name="connsiteY0dup0" fmla="*/ 5403202 h 5701004"/>
              <a:gd name="connsiteX1dup0" fmla="*/ 1427584 w 2444621"/>
              <a:gd name="connsiteY1dup0" fmla="*/ 4861249 h 5701004"/>
              <a:gd name="connsiteX2dup0" fmla="*/ 1679510 w 2444621"/>
              <a:gd name="connsiteY2dup0" fmla="*/ 4488024 h 5701004"/>
              <a:gd name="connsiteX3dup0" fmla="*/ 1651518 w 2444621"/>
              <a:gd name="connsiteY3dup0" fmla="*/ 3153747 h 5701004"/>
              <a:gd name="connsiteX4dup0" fmla="*/ 1847461 w 2444621"/>
              <a:gd name="connsiteY4dup0" fmla="*/ 1194318 h 5701004"/>
              <a:gd name="connsiteX5dup0" fmla="*/ 2444621 w 2444621"/>
              <a:gd name="connsiteY5dup0" fmla="*/ 0 h 5701004"/>
              <a:gd name="connsiteX6dup0" fmla="*/ 2323323 w 2444621"/>
              <a:gd name="connsiteY6dup0" fmla="*/ 18661 h 5701004"/>
              <a:gd name="connsiteX7dup0" fmla="*/ 942392 w 2444621"/>
              <a:gd name="connsiteY7dup0" fmla="*/ 662473 h 5701004"/>
              <a:gd name="connsiteX8dup0" fmla="*/ 1007706 w 2444621"/>
              <a:gd name="connsiteY8dup0" fmla="*/ 1203649 h 5701004"/>
              <a:gd name="connsiteX9dup0" fmla="*/ 18661 w 2444621"/>
              <a:gd name="connsiteY9dup0" fmla="*/ 3778898 h 5701004"/>
              <a:gd name="connsiteX10dup0" fmla="*/ 0 w 2444621"/>
              <a:gd name="connsiteY10dup0" fmla="*/ 5243804 h 5701004"/>
              <a:gd name="connsiteX11dup0" fmla="*/ 1007706 w 2444621"/>
              <a:gd name="connsiteY11dup0" fmla="*/ 5477069 h 5701004"/>
              <a:gd name="connsiteX12dup0" fmla="*/ 1063690 w 2444621"/>
              <a:gd name="connsiteY12dup0" fmla="*/ 5701004 h 5701004"/>
              <a:gd name="connsiteX13dup0" fmla="*/ 1315616 w 2444621"/>
              <a:gd name="connsiteY13dup0" fmla="*/ 5393093 h 5701004"/>
              <a:gd name="connsiteX14dup0" fmla="*/ 1427584 w 2444621"/>
              <a:gd name="connsiteY14dup0" fmla="*/ 5403202 h 5701004"/>
              <a:gd name="connsiteX0dup0dup1" fmla="*/ 1427584 w 2444621"/>
              <a:gd name="connsiteY0dup0dup1" fmla="*/ 5403202 h 5701004"/>
              <a:gd name="connsiteX1dup0dup1" fmla="*/ 1427584 w 2444621"/>
              <a:gd name="connsiteY1dup0dup1" fmla="*/ 4861249 h 5701004"/>
              <a:gd name="connsiteX2dup0dup1" fmla="*/ 1679510 w 2444621"/>
              <a:gd name="connsiteY2dup0dup1" fmla="*/ 4488024 h 5701004"/>
              <a:gd name="connsiteX3dup0dup1" fmla="*/ 1651518 w 2444621"/>
              <a:gd name="connsiteY3dup0dup1" fmla="*/ 3153747 h 5701004"/>
              <a:gd name="connsiteX4dup0dup1" fmla="*/ 1847461 w 2444621"/>
              <a:gd name="connsiteY4dup0dup1" fmla="*/ 1194318 h 5701004"/>
              <a:gd name="connsiteX5dup0dup1" fmla="*/ 2444621 w 2444621"/>
              <a:gd name="connsiteY5dup0dup1" fmla="*/ 0 h 5701004"/>
              <a:gd name="connsiteX6dup0dup1" fmla="*/ 2323323 w 2444621"/>
              <a:gd name="connsiteY6dup0dup1" fmla="*/ 18661 h 5701004"/>
              <a:gd name="connsiteX7dup0dup1" fmla="*/ 942392 w 2444621"/>
              <a:gd name="connsiteY7dup0dup1" fmla="*/ 662473 h 5701004"/>
              <a:gd name="connsiteX8dup0dup1" fmla="*/ 1007706 w 2444621"/>
              <a:gd name="connsiteY8dup0dup1" fmla="*/ 1203649 h 5701004"/>
              <a:gd name="connsiteX9dup0dup1" fmla="*/ 18661 w 2444621"/>
              <a:gd name="connsiteY9dup0dup1" fmla="*/ 3778898 h 5701004"/>
              <a:gd name="connsiteX10dup0dup1" fmla="*/ 0 w 2444621"/>
              <a:gd name="connsiteY10dup0dup1" fmla="*/ 5243804 h 5701004"/>
              <a:gd name="connsiteX11dup0dup1" fmla="*/ 1007706 w 2444621"/>
              <a:gd name="connsiteY11dup0dup1" fmla="*/ 5477069 h 5701004"/>
              <a:gd name="connsiteX12dup0dup1" fmla="*/ 1063690 w 2444621"/>
              <a:gd name="connsiteY12dup0dup1" fmla="*/ 5701004 h 5701004"/>
              <a:gd name="connsiteX13dup0dup1" fmla="*/ 1315616 w 2444621"/>
              <a:gd name="connsiteY13dup0dup1" fmla="*/ 5412143 h 5701004"/>
              <a:gd name="connsiteX14dup0dup1" fmla="*/ 1427584 w 2444621"/>
              <a:gd name="connsiteY14dup0dup1" fmla="*/ 5403202 h 5701004"/>
              <a:gd name="connsiteX0dup0dup1dup2" fmla="*/ 1427584 w 2452241"/>
              <a:gd name="connsiteY0dup0dup1dup2" fmla="*/ 5395582 h 5693384"/>
              <a:gd name="connsiteX1dup0dup1dup2" fmla="*/ 1427584 w 2452241"/>
              <a:gd name="connsiteY1dup0dup1dup2" fmla="*/ 4853629 h 5693384"/>
              <a:gd name="connsiteX2dup0dup1dup2" fmla="*/ 1679510 w 2452241"/>
              <a:gd name="connsiteY2dup0dup1dup2" fmla="*/ 4480404 h 5693384"/>
              <a:gd name="connsiteX3dup0dup1dup2" fmla="*/ 1651518 w 2452241"/>
              <a:gd name="connsiteY3dup0dup1dup2" fmla="*/ 3146127 h 5693384"/>
              <a:gd name="connsiteX4dup0dup1dup2" fmla="*/ 1847461 w 2452241"/>
              <a:gd name="connsiteY4dup0dup1dup2" fmla="*/ 1186698 h 5693384"/>
              <a:gd name="connsiteX5dup0dup1dup2" fmla="*/ 2452241 w 2452241"/>
              <a:gd name="connsiteY5dup0dup1dup2" fmla="*/ 0 h 5693384"/>
              <a:gd name="connsiteX6dup0dup1dup2" fmla="*/ 2323323 w 2452241"/>
              <a:gd name="connsiteY6dup0dup1dup2" fmla="*/ 11041 h 5693384"/>
              <a:gd name="connsiteX7dup0dup1dup2" fmla="*/ 942392 w 2452241"/>
              <a:gd name="connsiteY7dup0dup1dup2" fmla="*/ 654853 h 5693384"/>
              <a:gd name="connsiteX8dup0dup1dup2" fmla="*/ 1007706 w 2452241"/>
              <a:gd name="connsiteY8dup0dup1dup2" fmla="*/ 1196029 h 5693384"/>
              <a:gd name="connsiteX9dup0dup1dup2" fmla="*/ 18661 w 2452241"/>
              <a:gd name="connsiteY9dup0dup1dup2" fmla="*/ 3771278 h 5693384"/>
              <a:gd name="connsiteX10dup0dup1dup2" fmla="*/ 0 w 2452241"/>
              <a:gd name="connsiteY10dup0dup1dup2" fmla="*/ 5236184 h 5693384"/>
              <a:gd name="connsiteX11dup0dup1dup2" fmla="*/ 1007706 w 2452241"/>
              <a:gd name="connsiteY11dup0dup1dup2" fmla="*/ 5469449 h 5693384"/>
              <a:gd name="connsiteX12dup0dup1dup2" fmla="*/ 1063690 w 2452241"/>
              <a:gd name="connsiteY12dup0dup1dup2" fmla="*/ 5693384 h 5693384"/>
              <a:gd name="connsiteX13dup0dup1dup2" fmla="*/ 1315616 w 2452241"/>
              <a:gd name="connsiteY13dup0dup1dup2" fmla="*/ 5404523 h 5693384"/>
              <a:gd name="connsiteX14dup0dup1dup2" fmla="*/ 1427584 w 2452241"/>
              <a:gd name="connsiteY14dup0dup1dup2" fmla="*/ 5395582 h 5693384"/>
              <a:gd name="connsiteX0dup0dup1dup2dup3" fmla="*/ 1427584 w 2452241"/>
              <a:gd name="connsiteY0dup0dup1dup2dup3" fmla="*/ 5395582 h 5693384"/>
              <a:gd name="connsiteX1dup0dup1dup2dup3" fmla="*/ 1427584 w 2452241"/>
              <a:gd name="connsiteY1dup0dup1dup2dup3" fmla="*/ 4853629 h 5693384"/>
              <a:gd name="connsiteX2dup0dup1dup2dup3" fmla="*/ 1679510 w 2452241"/>
              <a:gd name="connsiteY2dup0dup1dup2dup3" fmla="*/ 4480404 h 5693384"/>
              <a:gd name="connsiteX3dup0dup1dup2dup3" fmla="*/ 1643898 w 2452241"/>
              <a:gd name="connsiteY3dup0dup1dup2dup3" fmla="*/ 3130887 h 5693384"/>
              <a:gd name="connsiteX4dup0dup1dup2dup3" fmla="*/ 1847461 w 2452241"/>
              <a:gd name="connsiteY4dup0dup1dup2dup3" fmla="*/ 1186698 h 5693384"/>
              <a:gd name="connsiteX5dup0dup1dup2dup3" fmla="*/ 2452241 w 2452241"/>
              <a:gd name="connsiteY5dup0dup1dup2dup3" fmla="*/ 0 h 5693384"/>
              <a:gd name="connsiteX6dup0dup1dup2dup3" fmla="*/ 2323323 w 2452241"/>
              <a:gd name="connsiteY6dup0dup1dup2dup3" fmla="*/ 11041 h 5693384"/>
              <a:gd name="connsiteX7dup0dup1dup2dup3" fmla="*/ 942392 w 2452241"/>
              <a:gd name="connsiteY7dup0dup1dup2dup3" fmla="*/ 654853 h 5693384"/>
              <a:gd name="connsiteX8dup0dup1dup2dup3" fmla="*/ 1007706 w 2452241"/>
              <a:gd name="connsiteY8dup0dup1dup2dup3" fmla="*/ 1196029 h 5693384"/>
              <a:gd name="connsiteX9dup0dup1dup2dup3" fmla="*/ 18661 w 2452241"/>
              <a:gd name="connsiteY9dup0dup1dup2dup3" fmla="*/ 3771278 h 5693384"/>
              <a:gd name="connsiteX10dup0dup1dup2dup3" fmla="*/ 0 w 2452241"/>
              <a:gd name="connsiteY10dup0dup1dup2dup3" fmla="*/ 5236184 h 5693384"/>
              <a:gd name="connsiteX11dup0dup1dup2dup3" fmla="*/ 1007706 w 2452241"/>
              <a:gd name="connsiteY11dup0dup1dup2dup3" fmla="*/ 5469449 h 5693384"/>
              <a:gd name="connsiteX12dup0dup1dup2dup3" fmla="*/ 1063690 w 2452241"/>
              <a:gd name="connsiteY12dup0dup1dup2dup3" fmla="*/ 5693384 h 5693384"/>
              <a:gd name="connsiteX13dup0dup1dup2dup3" fmla="*/ 1315616 w 2452241"/>
              <a:gd name="connsiteY13dup0dup1dup2dup3" fmla="*/ 5404523 h 5693384"/>
              <a:gd name="connsiteX14dup0dup1dup2dup3" fmla="*/ 1427584 w 2452241"/>
              <a:gd name="connsiteY14dup0dup1dup2dup3" fmla="*/ 5395582 h 5693384"/>
              <a:gd name="connsiteX0dup0dup1dup2dup3dup4" fmla="*/ 1427584 w 2452241"/>
              <a:gd name="connsiteY0dup0dup1dup2dup3dup4" fmla="*/ 5395582 h 5693384"/>
              <a:gd name="connsiteX1dup0dup1dup2dup3dup4" fmla="*/ 1427584 w 2452241"/>
              <a:gd name="connsiteY1dup0dup1dup2dup3dup4" fmla="*/ 4853629 h 5693384"/>
              <a:gd name="connsiteX2dup0dup1dup2dup3dup4" fmla="*/ 1679510 w 2452241"/>
              <a:gd name="connsiteY2dup0dup1dup2dup3dup4" fmla="*/ 4480404 h 5693384"/>
              <a:gd name="connsiteX3dup0dup1dup2dup3dup4" fmla="*/ 1643898 w 2452241"/>
              <a:gd name="connsiteY3dup0dup1dup2dup3dup4" fmla="*/ 3130887 h 5693384"/>
              <a:gd name="connsiteX4dup0dup1dup2dup3dup4" fmla="*/ 1855081 w 2452241"/>
              <a:gd name="connsiteY4dup0dup1dup2dup3dup4" fmla="*/ 1171458 h 5693384"/>
              <a:gd name="connsiteX5dup0dup1dup2dup3dup4" fmla="*/ 2452241 w 2452241"/>
              <a:gd name="connsiteY5dup0dup1dup2dup3dup4" fmla="*/ 0 h 5693384"/>
              <a:gd name="connsiteX6dup0dup1dup2dup3dup4" fmla="*/ 2323323 w 2452241"/>
              <a:gd name="connsiteY6dup0dup1dup2dup3dup4" fmla="*/ 11041 h 5693384"/>
              <a:gd name="connsiteX7dup0dup1dup2dup3dup4" fmla="*/ 942392 w 2452241"/>
              <a:gd name="connsiteY7dup0dup1dup2dup3dup4" fmla="*/ 654853 h 5693384"/>
              <a:gd name="connsiteX8dup0dup1dup2dup3dup4" fmla="*/ 1007706 w 2452241"/>
              <a:gd name="connsiteY8dup0dup1dup2dup3dup4" fmla="*/ 1196029 h 5693384"/>
              <a:gd name="connsiteX9dup0dup1dup2dup3dup4" fmla="*/ 18661 w 2452241"/>
              <a:gd name="connsiteY9dup0dup1dup2dup3dup4" fmla="*/ 3771278 h 5693384"/>
              <a:gd name="connsiteX10dup0dup1dup2dup3dup4" fmla="*/ 0 w 2452241"/>
              <a:gd name="connsiteY10dup0dup1dup2dup3dup4" fmla="*/ 5236184 h 5693384"/>
              <a:gd name="connsiteX11dup0dup1dup2dup3dup4" fmla="*/ 1007706 w 2452241"/>
              <a:gd name="connsiteY11dup0dup1dup2dup3dup4" fmla="*/ 5469449 h 5693384"/>
              <a:gd name="connsiteX12dup0dup1dup2dup3dup4" fmla="*/ 1063690 w 2452241"/>
              <a:gd name="connsiteY12dup0dup1dup2dup3dup4" fmla="*/ 5693384 h 5693384"/>
              <a:gd name="connsiteX13dup0dup1dup2dup3dup4" fmla="*/ 1315616 w 2452241"/>
              <a:gd name="connsiteY13dup0dup1dup2dup3dup4" fmla="*/ 5404523 h 5693384"/>
              <a:gd name="connsiteX14dup0dup1dup2dup3dup4" fmla="*/ 1427584 w 2452241"/>
              <a:gd name="connsiteY14dup0dup1dup2dup3dup4" fmla="*/ 5395582 h 5693384"/>
              <a:gd name="connsiteX0dup0dup1dup2dup3dup4dup5" fmla="*/ 1427584 w 2452241"/>
              <a:gd name="connsiteY0dup0dup1dup2dup3dup4dup5" fmla="*/ 5395582 h 5693384"/>
              <a:gd name="connsiteX1dup0dup1dup2dup3dup4dup5" fmla="*/ 1427584 w 2452241"/>
              <a:gd name="connsiteY1dup0dup1dup2dup3dup4dup5" fmla="*/ 4853629 h 5693384"/>
              <a:gd name="connsiteX2dup0dup1dup2dup3dup4dup5" fmla="*/ 1692210 w 2452241"/>
              <a:gd name="connsiteY2dup0dup1dup2dup3dup4dup5" fmla="*/ 4505804 h 5693384"/>
              <a:gd name="connsiteX3dup0dup1dup2dup3dup4dup5" fmla="*/ 1643898 w 2452241"/>
              <a:gd name="connsiteY3dup0dup1dup2dup3dup4dup5" fmla="*/ 3130887 h 5693384"/>
              <a:gd name="connsiteX4dup0dup1dup2dup3dup4dup5" fmla="*/ 1855081 w 2452241"/>
              <a:gd name="connsiteY4dup0dup1dup2dup3dup4dup5" fmla="*/ 1171458 h 5693384"/>
              <a:gd name="connsiteX5dup0dup1dup2dup3dup4dup5" fmla="*/ 2452241 w 2452241"/>
              <a:gd name="connsiteY5dup0dup1dup2dup3dup4dup5" fmla="*/ 0 h 5693384"/>
              <a:gd name="connsiteX6dup0dup1dup2dup3dup4dup5" fmla="*/ 2323323 w 2452241"/>
              <a:gd name="connsiteY6dup0dup1dup2dup3dup4dup5" fmla="*/ 11041 h 5693384"/>
              <a:gd name="connsiteX7dup0dup1dup2dup3dup4dup5" fmla="*/ 942392 w 2452241"/>
              <a:gd name="connsiteY7dup0dup1dup2dup3dup4dup5" fmla="*/ 654853 h 5693384"/>
              <a:gd name="connsiteX8dup0dup1dup2dup3dup4dup5" fmla="*/ 1007706 w 2452241"/>
              <a:gd name="connsiteY8dup0dup1dup2dup3dup4dup5" fmla="*/ 1196029 h 5693384"/>
              <a:gd name="connsiteX9dup0dup1dup2dup3dup4dup5" fmla="*/ 18661 w 2452241"/>
              <a:gd name="connsiteY9dup0dup1dup2dup3dup4dup5" fmla="*/ 3771278 h 5693384"/>
              <a:gd name="connsiteX10dup0dup1dup2dup3dup4dup5" fmla="*/ 0 w 2452241"/>
              <a:gd name="connsiteY10dup0dup1dup2dup3dup4dup5" fmla="*/ 5236184 h 5693384"/>
              <a:gd name="connsiteX11dup0dup1dup2dup3dup4dup5" fmla="*/ 1007706 w 2452241"/>
              <a:gd name="connsiteY11dup0dup1dup2dup3dup4dup5" fmla="*/ 5469449 h 5693384"/>
              <a:gd name="connsiteX12dup0dup1dup2dup3dup4dup5" fmla="*/ 1063690 w 2452241"/>
              <a:gd name="connsiteY12dup0dup1dup2dup3dup4dup5" fmla="*/ 5693384 h 5693384"/>
              <a:gd name="connsiteX13dup0dup1dup2dup3dup4dup5" fmla="*/ 1315616 w 2452241"/>
              <a:gd name="connsiteY13dup0dup1dup2dup3dup4dup5" fmla="*/ 5404523 h 5693384"/>
              <a:gd name="connsiteX14dup0dup1dup2dup3dup4dup5" fmla="*/ 1427584 w 2452241"/>
              <a:gd name="connsiteY14dup0dup1dup2dup3dup4dup5" fmla="*/ 5395582 h 5693384"/>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Lst>
            <a:rect l="l" t="t" r="r" b="b"/>
            <a:pathLst>
              <a:path w="2452241" h="5693384">
                <a:moveTo>
                  <a:pt x="1427584" y="5395582"/>
                </a:moveTo>
                <a:lnTo>
                  <a:pt x="1427584" y="4853629"/>
                </a:lnTo>
                <a:lnTo>
                  <a:pt x="1692210" y="4505804"/>
                </a:lnTo>
                <a:lnTo>
                  <a:pt x="1643898" y="3130887"/>
                </a:lnTo>
                <a:lnTo>
                  <a:pt x="1855081" y="1171458"/>
                </a:lnTo>
                <a:lnTo>
                  <a:pt x="2452241" y="0"/>
                </a:lnTo>
                <a:lnTo>
                  <a:pt x="2323323" y="11041"/>
                </a:lnTo>
                <a:lnTo>
                  <a:pt x="942392" y="654853"/>
                </a:lnTo>
                <a:lnTo>
                  <a:pt x="1007706" y="1196029"/>
                </a:lnTo>
                <a:lnTo>
                  <a:pt x="18661" y="3771278"/>
                </a:lnTo>
                <a:lnTo>
                  <a:pt x="0" y="5236184"/>
                </a:lnTo>
                <a:lnTo>
                  <a:pt x="1007706" y="5469449"/>
                </a:lnTo>
                <a:lnTo>
                  <a:pt x="1063690" y="5693384"/>
                </a:lnTo>
                <a:lnTo>
                  <a:pt x="1315616" y="5404523"/>
                </a:lnTo>
                <a:lnTo>
                  <a:pt x="1427584" y="5395582"/>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4" name="자유형 173"/>
          <p:cNvSpPr/>
          <p:nvPr/>
        </p:nvSpPr>
        <p:spPr>
          <a:xfrm>
            <a:off x="7155131" y="6212065"/>
            <a:ext cx="360011" cy="113145"/>
          </a:xfrm>
          <a:custGeom>
            <a:avLst/>
            <a:gdLst>
              <a:gd name="connsiteX0" fmla="*/ 38100 w 962025"/>
              <a:gd name="connsiteY0" fmla="*/ 395287 h 395287"/>
              <a:gd name="connsiteX1" fmla="*/ 0 w 962025"/>
              <a:gd name="connsiteY1" fmla="*/ 204787 h 395287"/>
              <a:gd name="connsiteX2" fmla="*/ 666750 w 962025"/>
              <a:gd name="connsiteY2" fmla="*/ 0 h 395287"/>
              <a:gd name="connsiteX3" fmla="*/ 962025 w 962025"/>
              <a:gd name="connsiteY3" fmla="*/ 300037 h 395287"/>
              <a:gd name="connsiteX4" fmla="*/ 128587 w 962025"/>
              <a:gd name="connsiteY4" fmla="*/ 276225 h 395287"/>
              <a:gd name="connsiteX5" fmla="*/ 38100 w 962025"/>
              <a:gd name="connsiteY5" fmla="*/ 395287 h 39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2025" h="395287">
                <a:moveTo>
                  <a:pt x="38100" y="395287"/>
                </a:moveTo>
                <a:lnTo>
                  <a:pt x="0" y="204787"/>
                </a:lnTo>
                <a:lnTo>
                  <a:pt x="666750" y="0"/>
                </a:lnTo>
                <a:lnTo>
                  <a:pt x="962025" y="300037"/>
                </a:lnTo>
                <a:lnTo>
                  <a:pt x="128587" y="276225"/>
                </a:lnTo>
                <a:lnTo>
                  <a:pt x="38100" y="395287"/>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5" name="자유형 174"/>
          <p:cNvSpPr/>
          <p:nvPr/>
        </p:nvSpPr>
        <p:spPr>
          <a:xfrm>
            <a:off x="7044038" y="6102555"/>
            <a:ext cx="137826" cy="307173"/>
          </a:xfrm>
          <a:custGeom>
            <a:avLst/>
            <a:gdLst>
              <a:gd name="connsiteX0" fmla="*/ 336550 w 368300"/>
              <a:gd name="connsiteY0" fmla="*/ 787400 h 1073150"/>
              <a:gd name="connsiteX1" fmla="*/ 165100 w 368300"/>
              <a:gd name="connsiteY1" fmla="*/ 1054100 h 1073150"/>
              <a:gd name="connsiteX2" fmla="*/ 63500 w 368300"/>
              <a:gd name="connsiteY2" fmla="*/ 1073150 h 1073150"/>
              <a:gd name="connsiteX3" fmla="*/ 57150 w 368300"/>
              <a:gd name="connsiteY3" fmla="*/ 755650 h 1073150"/>
              <a:gd name="connsiteX4" fmla="*/ 19050 w 368300"/>
              <a:gd name="connsiteY4" fmla="*/ 476250 h 1073150"/>
              <a:gd name="connsiteX5" fmla="*/ 0 w 368300"/>
              <a:gd name="connsiteY5" fmla="*/ 260350 h 1073150"/>
              <a:gd name="connsiteX6" fmla="*/ 0 w 368300"/>
              <a:gd name="connsiteY6" fmla="*/ 101600 h 1073150"/>
              <a:gd name="connsiteX7" fmla="*/ 323850 w 368300"/>
              <a:gd name="connsiteY7" fmla="*/ 0 h 1073150"/>
              <a:gd name="connsiteX8" fmla="*/ 368300 w 368300"/>
              <a:gd name="connsiteY8" fmla="*/ 241300 h 1073150"/>
              <a:gd name="connsiteX9" fmla="*/ 222250 w 368300"/>
              <a:gd name="connsiteY9" fmla="*/ 285750 h 1073150"/>
              <a:gd name="connsiteX10" fmla="*/ 292100 w 368300"/>
              <a:gd name="connsiteY10" fmla="*/ 596900 h 1073150"/>
              <a:gd name="connsiteX11" fmla="*/ 336550 w 368300"/>
              <a:gd name="connsiteY11" fmla="*/ 787400 h 107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300" h="1073150">
                <a:moveTo>
                  <a:pt x="336550" y="787400"/>
                </a:moveTo>
                <a:lnTo>
                  <a:pt x="165100" y="1054100"/>
                </a:lnTo>
                <a:lnTo>
                  <a:pt x="63500" y="1073150"/>
                </a:lnTo>
                <a:lnTo>
                  <a:pt x="57150" y="755650"/>
                </a:lnTo>
                <a:lnTo>
                  <a:pt x="19050" y="476250"/>
                </a:lnTo>
                <a:lnTo>
                  <a:pt x="0" y="260350"/>
                </a:lnTo>
                <a:lnTo>
                  <a:pt x="0" y="101600"/>
                </a:lnTo>
                <a:lnTo>
                  <a:pt x="323850" y="0"/>
                </a:lnTo>
                <a:lnTo>
                  <a:pt x="368300" y="241300"/>
                </a:lnTo>
                <a:lnTo>
                  <a:pt x="222250" y="285750"/>
                </a:lnTo>
                <a:lnTo>
                  <a:pt x="292100" y="596900"/>
                </a:lnTo>
                <a:lnTo>
                  <a:pt x="336550" y="7874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6" name="자유형 175"/>
          <p:cNvSpPr/>
          <p:nvPr/>
        </p:nvSpPr>
        <p:spPr>
          <a:xfrm>
            <a:off x="7129585" y="6151630"/>
            <a:ext cx="175847" cy="119961"/>
          </a:xfrm>
          <a:custGeom>
            <a:avLst/>
            <a:gdLst>
              <a:gd name="connsiteX0" fmla="*/ 0 w 469900"/>
              <a:gd name="connsiteY0" fmla="*/ 95250 h 400050"/>
              <a:gd name="connsiteX1" fmla="*/ 279400 w 469900"/>
              <a:gd name="connsiteY1" fmla="*/ 0 h 400050"/>
              <a:gd name="connsiteX2" fmla="*/ 469900 w 469900"/>
              <a:gd name="connsiteY2" fmla="*/ 285750 h 400050"/>
              <a:gd name="connsiteX3" fmla="*/ 76200 w 469900"/>
              <a:gd name="connsiteY3" fmla="*/ 400050 h 400050"/>
              <a:gd name="connsiteX4" fmla="*/ 0 w 469900"/>
              <a:gd name="connsiteY4" fmla="*/ 95250 h 400050"/>
              <a:gd name="connsiteX0dup0" fmla="*/ 0 w 469900"/>
              <a:gd name="connsiteY0dup0" fmla="*/ 114300 h 419100"/>
              <a:gd name="connsiteX1dup0" fmla="*/ 406400 w 469900"/>
              <a:gd name="connsiteY1dup0" fmla="*/ 0 h 419100"/>
              <a:gd name="connsiteX2dup0" fmla="*/ 469900 w 469900"/>
              <a:gd name="connsiteY2dup0" fmla="*/ 304800 h 419100"/>
              <a:gd name="connsiteX3dup0" fmla="*/ 76200 w 469900"/>
              <a:gd name="connsiteY3dup0" fmla="*/ 419100 h 419100"/>
              <a:gd name="connsiteX4dup0" fmla="*/ 0 w 469900"/>
              <a:gd name="connsiteY4dup0" fmla="*/ 114300 h 419100"/>
              <a:gd name="connsiteX0dup0dup1" fmla="*/ 0 w 469900"/>
              <a:gd name="connsiteY0dup0dup1" fmla="*/ 114300 h 419100"/>
              <a:gd name="connsiteX1dup0dup1" fmla="*/ 406400 w 469900"/>
              <a:gd name="connsiteY1dup0dup1" fmla="*/ 0 h 419100"/>
              <a:gd name="connsiteX2dup0dup1" fmla="*/ 469900 w 469900"/>
              <a:gd name="connsiteY2dup0dup1" fmla="*/ 304800 h 419100"/>
              <a:gd name="connsiteX3dup0dup1" fmla="*/ 63500 w 469900"/>
              <a:gd name="connsiteY3dup0dup1" fmla="*/ 419100 h 419100"/>
              <a:gd name="connsiteX4dup0dup1" fmla="*/ 0 w 469900"/>
              <a:gd name="connsiteY4dup0dup1" fmla="*/ 114300 h 419100"/>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Lst>
            <a:rect l="l" t="t" r="r" b="b"/>
            <a:pathLst>
              <a:path w="469900" h="419100">
                <a:moveTo>
                  <a:pt x="0" y="114300"/>
                </a:moveTo>
                <a:lnTo>
                  <a:pt x="406400" y="0"/>
                </a:lnTo>
                <a:lnTo>
                  <a:pt x="469900" y="304800"/>
                </a:lnTo>
                <a:lnTo>
                  <a:pt x="63500" y="419100"/>
                </a:lnTo>
                <a:lnTo>
                  <a:pt x="0" y="1143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7" name="자유형 176"/>
          <p:cNvSpPr/>
          <p:nvPr/>
        </p:nvSpPr>
        <p:spPr>
          <a:xfrm>
            <a:off x="7165230" y="6077109"/>
            <a:ext cx="114063" cy="96332"/>
          </a:xfrm>
          <a:custGeom>
            <a:avLst/>
            <a:gdLst>
              <a:gd name="connsiteX0" fmla="*/ 0 w 304800"/>
              <a:gd name="connsiteY0" fmla="*/ 82550 h 317500"/>
              <a:gd name="connsiteX1" fmla="*/ 234950 w 304800"/>
              <a:gd name="connsiteY1" fmla="*/ 0 h 317500"/>
              <a:gd name="connsiteX2" fmla="*/ 304800 w 304800"/>
              <a:gd name="connsiteY2" fmla="*/ 260350 h 317500"/>
              <a:gd name="connsiteX3" fmla="*/ 57150 w 304800"/>
              <a:gd name="connsiteY3" fmla="*/ 317500 h 317500"/>
              <a:gd name="connsiteX4" fmla="*/ 0 w 304800"/>
              <a:gd name="connsiteY4" fmla="*/ 82550 h 317500"/>
              <a:gd name="connsiteX0dup0" fmla="*/ 0 w 304800"/>
              <a:gd name="connsiteY0dup0" fmla="*/ 82550 h 336550"/>
              <a:gd name="connsiteX1dup0" fmla="*/ 234950 w 304800"/>
              <a:gd name="connsiteY1dup0" fmla="*/ 0 h 336550"/>
              <a:gd name="connsiteX2dup0" fmla="*/ 304800 w 304800"/>
              <a:gd name="connsiteY2dup0" fmla="*/ 260350 h 336550"/>
              <a:gd name="connsiteX3dup0" fmla="*/ 50800 w 304800"/>
              <a:gd name="connsiteY3dup0" fmla="*/ 336550 h 336550"/>
              <a:gd name="connsiteX4dup0" fmla="*/ 0 w 304800"/>
              <a:gd name="connsiteY4dup0" fmla="*/ 82550 h 33655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Lst>
            <a:rect l="l" t="t" r="r" b="b"/>
            <a:pathLst>
              <a:path w="304800" h="336550">
                <a:moveTo>
                  <a:pt x="0" y="82550"/>
                </a:moveTo>
                <a:lnTo>
                  <a:pt x="234950" y="0"/>
                </a:lnTo>
                <a:lnTo>
                  <a:pt x="304800" y="260350"/>
                </a:lnTo>
                <a:lnTo>
                  <a:pt x="50800" y="336550"/>
                </a:lnTo>
                <a:lnTo>
                  <a:pt x="0" y="825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8" name="자유형 177"/>
          <p:cNvSpPr/>
          <p:nvPr/>
        </p:nvSpPr>
        <p:spPr>
          <a:xfrm>
            <a:off x="7558272" y="5887352"/>
            <a:ext cx="410627" cy="416591"/>
          </a:xfrm>
          <a:custGeom>
            <a:avLst/>
            <a:gdLst>
              <a:gd name="connsiteX0" fmla="*/ 160020 w 1104900"/>
              <a:gd name="connsiteY0" fmla="*/ 1432560 h 1455420"/>
              <a:gd name="connsiteX1" fmla="*/ 617220 w 1104900"/>
              <a:gd name="connsiteY1" fmla="*/ 1455420 h 1455420"/>
              <a:gd name="connsiteX2" fmla="*/ 1104900 w 1104900"/>
              <a:gd name="connsiteY2" fmla="*/ 1363980 h 1455420"/>
              <a:gd name="connsiteX3" fmla="*/ 990600 w 1104900"/>
              <a:gd name="connsiteY3" fmla="*/ 1097280 h 1455420"/>
              <a:gd name="connsiteX4" fmla="*/ 1082040 w 1104900"/>
              <a:gd name="connsiteY4" fmla="*/ 0 h 1455420"/>
              <a:gd name="connsiteX5" fmla="*/ 0 w 1104900"/>
              <a:gd name="connsiteY5" fmla="*/ 678180 h 1455420"/>
              <a:gd name="connsiteX6" fmla="*/ 7620 w 1104900"/>
              <a:gd name="connsiteY6" fmla="*/ 922020 h 1455420"/>
              <a:gd name="connsiteX7" fmla="*/ 160020 w 1104900"/>
              <a:gd name="connsiteY7" fmla="*/ 1432560 h 1455420"/>
              <a:gd name="connsiteX0dup0" fmla="*/ 152400 w 1097280"/>
              <a:gd name="connsiteY0dup0" fmla="*/ 1432560 h 1455420"/>
              <a:gd name="connsiteX1dup0" fmla="*/ 609600 w 1097280"/>
              <a:gd name="connsiteY1dup0" fmla="*/ 1455420 h 1455420"/>
              <a:gd name="connsiteX2dup0" fmla="*/ 1097280 w 1097280"/>
              <a:gd name="connsiteY2dup0" fmla="*/ 1363980 h 1455420"/>
              <a:gd name="connsiteX3dup0" fmla="*/ 982980 w 1097280"/>
              <a:gd name="connsiteY3dup0" fmla="*/ 1097280 h 1455420"/>
              <a:gd name="connsiteX4dup0" fmla="*/ 1074420 w 1097280"/>
              <a:gd name="connsiteY4dup0" fmla="*/ 0 h 1455420"/>
              <a:gd name="connsiteX5dup0" fmla="*/ 22860 w 1097280"/>
              <a:gd name="connsiteY5dup0" fmla="*/ 662940 h 1455420"/>
              <a:gd name="connsiteX6dup0" fmla="*/ 0 w 1097280"/>
              <a:gd name="connsiteY6dup0" fmla="*/ 922020 h 1455420"/>
              <a:gd name="connsiteX7dup0" fmla="*/ 152400 w 1097280"/>
              <a:gd name="connsiteY7dup0" fmla="*/ 1432560 h 145542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Lst>
            <a:rect l="l" t="t" r="r" b="b"/>
            <a:pathLst>
              <a:path w="1097280" h="1455420">
                <a:moveTo>
                  <a:pt x="152400" y="1432560"/>
                </a:moveTo>
                <a:lnTo>
                  <a:pt x="609600" y="1455420"/>
                </a:lnTo>
                <a:lnTo>
                  <a:pt x="1097280" y="1363980"/>
                </a:lnTo>
                <a:lnTo>
                  <a:pt x="982980" y="1097280"/>
                </a:lnTo>
                <a:lnTo>
                  <a:pt x="1074420" y="0"/>
                </a:lnTo>
                <a:lnTo>
                  <a:pt x="22860" y="662940"/>
                </a:lnTo>
                <a:lnTo>
                  <a:pt x="0" y="922020"/>
                </a:lnTo>
                <a:lnTo>
                  <a:pt x="152400" y="143256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9" name="자유형 178"/>
          <p:cNvSpPr/>
          <p:nvPr/>
        </p:nvSpPr>
        <p:spPr>
          <a:xfrm>
            <a:off x="6774089" y="4805524"/>
            <a:ext cx="336486" cy="1644554"/>
          </a:xfrm>
          <a:custGeom>
            <a:avLst/>
            <a:gdLst>
              <a:gd name="connsiteX0" fmla="*/ 647700 w 891540"/>
              <a:gd name="connsiteY0" fmla="*/ 5631180 h 5745480"/>
              <a:gd name="connsiteX1" fmla="*/ 609600 w 891540"/>
              <a:gd name="connsiteY1" fmla="*/ 5189220 h 5745480"/>
              <a:gd name="connsiteX2" fmla="*/ 891540 w 891540"/>
              <a:gd name="connsiteY2" fmla="*/ 3017520 h 5745480"/>
              <a:gd name="connsiteX3" fmla="*/ 586740 w 891540"/>
              <a:gd name="connsiteY3" fmla="*/ 1082040 h 5745480"/>
              <a:gd name="connsiteX4" fmla="*/ 312420 w 891540"/>
              <a:gd name="connsiteY4" fmla="*/ 0 h 5745480"/>
              <a:gd name="connsiteX5" fmla="*/ 137160 w 891540"/>
              <a:gd name="connsiteY5" fmla="*/ 7620 h 5745480"/>
              <a:gd name="connsiteX6" fmla="*/ 304800 w 891540"/>
              <a:gd name="connsiteY6" fmla="*/ 1165860 h 5745480"/>
              <a:gd name="connsiteX7" fmla="*/ 175260 w 891540"/>
              <a:gd name="connsiteY7" fmla="*/ 4328160 h 5745480"/>
              <a:gd name="connsiteX8" fmla="*/ 0 w 891540"/>
              <a:gd name="connsiteY8" fmla="*/ 5006340 h 5745480"/>
              <a:gd name="connsiteX9" fmla="*/ 228600 w 891540"/>
              <a:gd name="connsiteY9" fmla="*/ 5494020 h 5745480"/>
              <a:gd name="connsiteX10" fmla="*/ 220980 w 891540"/>
              <a:gd name="connsiteY10" fmla="*/ 5745480 h 5745480"/>
              <a:gd name="connsiteX11" fmla="*/ 647700 w 891540"/>
              <a:gd name="connsiteY11" fmla="*/ 5631180 h 5745480"/>
              <a:gd name="connsiteX0dup0" fmla="*/ 647700 w 891540"/>
              <a:gd name="connsiteY0dup0" fmla="*/ 5631180 h 5745480"/>
              <a:gd name="connsiteX1dup0" fmla="*/ 609600 w 891540"/>
              <a:gd name="connsiteY1dup0" fmla="*/ 5189220 h 5745480"/>
              <a:gd name="connsiteX2dup0" fmla="*/ 891540 w 891540"/>
              <a:gd name="connsiteY2dup0" fmla="*/ 3017520 h 5745480"/>
              <a:gd name="connsiteX3dup0" fmla="*/ 586740 w 891540"/>
              <a:gd name="connsiteY3dup0" fmla="*/ 1082040 h 5745480"/>
              <a:gd name="connsiteX4dup0" fmla="*/ 312420 w 891540"/>
              <a:gd name="connsiteY4dup0" fmla="*/ 0 h 5745480"/>
              <a:gd name="connsiteX5dup0" fmla="*/ 137160 w 891540"/>
              <a:gd name="connsiteY5dup0" fmla="*/ 7620 h 5745480"/>
              <a:gd name="connsiteX6dup0" fmla="*/ 304800 w 891540"/>
              <a:gd name="connsiteY6dup0" fmla="*/ 1165860 h 5745480"/>
              <a:gd name="connsiteX7dup0" fmla="*/ 205740 w 891540"/>
              <a:gd name="connsiteY7dup0" fmla="*/ 2819400 h 5745480"/>
              <a:gd name="connsiteX8dup0" fmla="*/ 175260 w 891540"/>
              <a:gd name="connsiteY8dup0" fmla="*/ 4328160 h 5745480"/>
              <a:gd name="connsiteX9dup0" fmla="*/ 0 w 891540"/>
              <a:gd name="connsiteY9dup0" fmla="*/ 5006340 h 5745480"/>
              <a:gd name="connsiteX10dup0" fmla="*/ 228600 w 891540"/>
              <a:gd name="connsiteY10dup0" fmla="*/ 5494020 h 5745480"/>
              <a:gd name="connsiteX11dup0" fmla="*/ 220980 w 891540"/>
              <a:gd name="connsiteY11dup0" fmla="*/ 5745480 h 5745480"/>
              <a:gd name="connsiteX12" fmla="*/ 647700 w 891540"/>
              <a:gd name="connsiteY12" fmla="*/ 5631180 h 5745480"/>
              <a:gd name="connsiteX0dup0dup1" fmla="*/ 655320 w 899160"/>
              <a:gd name="connsiteY0dup0dup1" fmla="*/ 5631180 h 5745480"/>
              <a:gd name="connsiteX1dup0dup1" fmla="*/ 617220 w 899160"/>
              <a:gd name="connsiteY1dup0dup1" fmla="*/ 5189220 h 5745480"/>
              <a:gd name="connsiteX2dup0dup1" fmla="*/ 899160 w 899160"/>
              <a:gd name="connsiteY2dup0dup1" fmla="*/ 3017520 h 5745480"/>
              <a:gd name="connsiteX3dup0dup1" fmla="*/ 594360 w 899160"/>
              <a:gd name="connsiteY3dup0dup1" fmla="*/ 1082040 h 5745480"/>
              <a:gd name="connsiteX4dup0dup1" fmla="*/ 320040 w 899160"/>
              <a:gd name="connsiteY4dup0dup1" fmla="*/ 0 h 5745480"/>
              <a:gd name="connsiteX5dup0dup1" fmla="*/ 144780 w 899160"/>
              <a:gd name="connsiteY5dup0dup1" fmla="*/ 7620 h 5745480"/>
              <a:gd name="connsiteX6dup0dup1" fmla="*/ 312420 w 899160"/>
              <a:gd name="connsiteY6dup0dup1" fmla="*/ 1165860 h 5745480"/>
              <a:gd name="connsiteX7dup0dup1" fmla="*/ 213360 w 899160"/>
              <a:gd name="connsiteY7dup0dup1" fmla="*/ 2819400 h 5745480"/>
              <a:gd name="connsiteX8dup0dup1" fmla="*/ 182880 w 899160"/>
              <a:gd name="connsiteY8dup0dup1" fmla="*/ 4328160 h 5745480"/>
              <a:gd name="connsiteX9dup0dup1" fmla="*/ 0 w 899160"/>
              <a:gd name="connsiteY9dup0dup1" fmla="*/ 4975860 h 5745480"/>
              <a:gd name="connsiteX10dup0dup1" fmla="*/ 236220 w 899160"/>
              <a:gd name="connsiteY10dup0dup1" fmla="*/ 5494020 h 5745480"/>
              <a:gd name="connsiteX11dup0dup1" fmla="*/ 228600 w 899160"/>
              <a:gd name="connsiteY11dup0dup1" fmla="*/ 5745480 h 5745480"/>
              <a:gd name="connsiteX12dup0" fmla="*/ 655320 w 899160"/>
              <a:gd name="connsiteY12dup0" fmla="*/ 5631180 h 5745480"/>
              <a:gd name="connsiteX0dup0dup1dup2" fmla="*/ 655320 w 899160"/>
              <a:gd name="connsiteY0dup0dup1dup2" fmla="*/ 5631180 h 5745480"/>
              <a:gd name="connsiteX1dup0dup1dup2" fmla="*/ 617220 w 899160"/>
              <a:gd name="connsiteY1dup0dup1dup2" fmla="*/ 5189220 h 5745480"/>
              <a:gd name="connsiteX2dup0dup1dup2" fmla="*/ 899160 w 899160"/>
              <a:gd name="connsiteY2dup0dup1dup2" fmla="*/ 3017520 h 5745480"/>
              <a:gd name="connsiteX3dup0dup1dup2" fmla="*/ 594360 w 899160"/>
              <a:gd name="connsiteY3dup0dup1dup2" fmla="*/ 1082040 h 5745480"/>
              <a:gd name="connsiteX4dup0dup1dup2" fmla="*/ 320040 w 899160"/>
              <a:gd name="connsiteY4dup0dup1dup2" fmla="*/ 0 h 5745480"/>
              <a:gd name="connsiteX5dup0dup1dup2" fmla="*/ 144780 w 899160"/>
              <a:gd name="connsiteY5dup0dup1dup2" fmla="*/ 7620 h 5745480"/>
              <a:gd name="connsiteX6dup0dup1dup2" fmla="*/ 312420 w 899160"/>
              <a:gd name="connsiteY6dup0dup1dup2" fmla="*/ 1165860 h 5745480"/>
              <a:gd name="connsiteX7dup0dup1dup2" fmla="*/ 213360 w 899160"/>
              <a:gd name="connsiteY7dup0dup1dup2" fmla="*/ 2819400 h 5745480"/>
              <a:gd name="connsiteX8dup0dup1dup2" fmla="*/ 175260 w 899160"/>
              <a:gd name="connsiteY8dup0dup1dup2" fmla="*/ 4328160 h 5745480"/>
              <a:gd name="connsiteX9dup0dup1dup2" fmla="*/ 0 w 899160"/>
              <a:gd name="connsiteY9dup0dup1dup2" fmla="*/ 4975860 h 5745480"/>
              <a:gd name="connsiteX10dup0dup1dup2" fmla="*/ 236220 w 899160"/>
              <a:gd name="connsiteY10dup0dup1dup2" fmla="*/ 5494020 h 5745480"/>
              <a:gd name="connsiteX11dup0dup1dup2" fmla="*/ 228600 w 899160"/>
              <a:gd name="connsiteY11dup0dup1dup2" fmla="*/ 5745480 h 5745480"/>
              <a:gd name="connsiteX12dup0dup1" fmla="*/ 655320 w 899160"/>
              <a:gd name="connsiteY12dup0dup1" fmla="*/ 5631180 h 5745480"/>
              <a:gd name="connsiteX0dup0dup1dup2dup3" fmla="*/ 655320 w 899160"/>
              <a:gd name="connsiteY0dup0dup1dup2dup3" fmla="*/ 5631180 h 5745480"/>
              <a:gd name="connsiteX1dup0dup1dup2dup3" fmla="*/ 487680 w 899160"/>
              <a:gd name="connsiteY1dup0dup1dup2dup3" fmla="*/ 5212080 h 5745480"/>
              <a:gd name="connsiteX2dup0dup1dup2dup3" fmla="*/ 899160 w 899160"/>
              <a:gd name="connsiteY2dup0dup1dup2dup3" fmla="*/ 3017520 h 5745480"/>
              <a:gd name="connsiteX3dup0dup1dup2dup3" fmla="*/ 594360 w 899160"/>
              <a:gd name="connsiteY3dup0dup1dup2dup3" fmla="*/ 1082040 h 5745480"/>
              <a:gd name="connsiteX4dup0dup1dup2dup3" fmla="*/ 320040 w 899160"/>
              <a:gd name="connsiteY4dup0dup1dup2dup3" fmla="*/ 0 h 5745480"/>
              <a:gd name="connsiteX5dup0dup1dup2dup3" fmla="*/ 144780 w 899160"/>
              <a:gd name="connsiteY5dup0dup1dup2dup3" fmla="*/ 7620 h 5745480"/>
              <a:gd name="connsiteX6dup0dup1dup2dup3" fmla="*/ 312420 w 899160"/>
              <a:gd name="connsiteY6dup0dup1dup2dup3" fmla="*/ 1165860 h 5745480"/>
              <a:gd name="connsiteX7dup0dup1dup2dup3" fmla="*/ 213360 w 899160"/>
              <a:gd name="connsiteY7dup0dup1dup2dup3" fmla="*/ 2819400 h 5745480"/>
              <a:gd name="connsiteX8dup0dup1dup2dup3" fmla="*/ 175260 w 899160"/>
              <a:gd name="connsiteY8dup0dup1dup2dup3" fmla="*/ 4328160 h 5745480"/>
              <a:gd name="connsiteX9dup0dup1dup2dup3" fmla="*/ 0 w 899160"/>
              <a:gd name="connsiteY9dup0dup1dup2dup3" fmla="*/ 4975860 h 5745480"/>
              <a:gd name="connsiteX10dup0dup1dup2dup3" fmla="*/ 236220 w 899160"/>
              <a:gd name="connsiteY10dup0dup1dup2dup3" fmla="*/ 5494020 h 5745480"/>
              <a:gd name="connsiteX11dup0dup1dup2dup3" fmla="*/ 228600 w 899160"/>
              <a:gd name="connsiteY11dup0dup1dup2dup3" fmla="*/ 5745480 h 5745480"/>
              <a:gd name="connsiteX12dup0dup1dup2" fmla="*/ 655320 w 899160"/>
              <a:gd name="connsiteY12dup0dup1dup2" fmla="*/ 5631180 h 5745480"/>
              <a:gd name="connsiteX0dup0dup1dup2dup3dup4" fmla="*/ 541020 w 899160"/>
              <a:gd name="connsiteY0dup0dup1dup2dup3dup4" fmla="*/ 5669280 h 5745480"/>
              <a:gd name="connsiteX1dup0dup1dup2dup3dup4" fmla="*/ 487680 w 899160"/>
              <a:gd name="connsiteY1dup0dup1dup2dup3dup4" fmla="*/ 5212080 h 5745480"/>
              <a:gd name="connsiteX2dup0dup1dup2dup3dup4" fmla="*/ 899160 w 899160"/>
              <a:gd name="connsiteY2dup0dup1dup2dup3dup4" fmla="*/ 3017520 h 5745480"/>
              <a:gd name="connsiteX3dup0dup1dup2dup3dup4" fmla="*/ 594360 w 899160"/>
              <a:gd name="connsiteY3dup0dup1dup2dup3dup4" fmla="*/ 1082040 h 5745480"/>
              <a:gd name="connsiteX4dup0dup1dup2dup3dup4" fmla="*/ 320040 w 899160"/>
              <a:gd name="connsiteY4dup0dup1dup2dup3dup4" fmla="*/ 0 h 5745480"/>
              <a:gd name="connsiteX5dup0dup1dup2dup3dup4" fmla="*/ 144780 w 899160"/>
              <a:gd name="connsiteY5dup0dup1dup2dup3dup4" fmla="*/ 7620 h 5745480"/>
              <a:gd name="connsiteX6dup0dup1dup2dup3dup4" fmla="*/ 312420 w 899160"/>
              <a:gd name="connsiteY6dup0dup1dup2dup3dup4" fmla="*/ 1165860 h 5745480"/>
              <a:gd name="connsiteX7dup0dup1dup2dup3dup4" fmla="*/ 213360 w 899160"/>
              <a:gd name="connsiteY7dup0dup1dup2dup3dup4" fmla="*/ 2819400 h 5745480"/>
              <a:gd name="connsiteX8dup0dup1dup2dup3dup4" fmla="*/ 175260 w 899160"/>
              <a:gd name="connsiteY8dup0dup1dup2dup3dup4" fmla="*/ 4328160 h 5745480"/>
              <a:gd name="connsiteX9dup0dup1dup2dup3dup4" fmla="*/ 0 w 899160"/>
              <a:gd name="connsiteY9dup0dup1dup2dup3dup4" fmla="*/ 4975860 h 5745480"/>
              <a:gd name="connsiteX10dup0dup1dup2dup3dup4" fmla="*/ 236220 w 899160"/>
              <a:gd name="connsiteY10dup0dup1dup2dup3dup4" fmla="*/ 5494020 h 5745480"/>
              <a:gd name="connsiteX11dup0dup1dup2dup3dup4" fmla="*/ 228600 w 899160"/>
              <a:gd name="connsiteY11dup0dup1dup2dup3dup4" fmla="*/ 5745480 h 5745480"/>
              <a:gd name="connsiteX12dup0dup1dup2dup3" fmla="*/ 541020 w 899160"/>
              <a:gd name="connsiteY12dup0dup1dup2dup3" fmla="*/ 5669280 h 5745480"/>
              <a:gd name="connsiteX0dup0dup1dup2dup3dup4dup5" fmla="*/ 793432 w 899160"/>
              <a:gd name="connsiteY0dup0dup1dup2dup3dup4dup5" fmla="*/ 5616893 h 5745480"/>
              <a:gd name="connsiteX1dup0dup1dup2dup3dup4dup5" fmla="*/ 487680 w 899160"/>
              <a:gd name="connsiteY1dup0dup1dup2dup3dup4dup5" fmla="*/ 5212080 h 5745480"/>
              <a:gd name="connsiteX2dup0dup1dup2dup3dup4dup5" fmla="*/ 899160 w 899160"/>
              <a:gd name="connsiteY2dup0dup1dup2dup3dup4dup5" fmla="*/ 3017520 h 5745480"/>
              <a:gd name="connsiteX3dup0dup1dup2dup3dup4dup5" fmla="*/ 594360 w 899160"/>
              <a:gd name="connsiteY3dup0dup1dup2dup3dup4dup5" fmla="*/ 1082040 h 5745480"/>
              <a:gd name="connsiteX4dup0dup1dup2dup3dup4dup5" fmla="*/ 320040 w 899160"/>
              <a:gd name="connsiteY4dup0dup1dup2dup3dup4dup5" fmla="*/ 0 h 5745480"/>
              <a:gd name="connsiteX5dup0dup1dup2dup3dup4dup5" fmla="*/ 144780 w 899160"/>
              <a:gd name="connsiteY5dup0dup1dup2dup3dup4dup5" fmla="*/ 7620 h 5745480"/>
              <a:gd name="connsiteX6dup0dup1dup2dup3dup4dup5" fmla="*/ 312420 w 899160"/>
              <a:gd name="connsiteY6dup0dup1dup2dup3dup4dup5" fmla="*/ 1165860 h 5745480"/>
              <a:gd name="connsiteX7dup0dup1dup2dup3dup4dup5" fmla="*/ 213360 w 899160"/>
              <a:gd name="connsiteY7dup0dup1dup2dup3dup4dup5" fmla="*/ 2819400 h 5745480"/>
              <a:gd name="connsiteX8dup0dup1dup2dup3dup4dup5" fmla="*/ 175260 w 899160"/>
              <a:gd name="connsiteY8dup0dup1dup2dup3dup4dup5" fmla="*/ 4328160 h 5745480"/>
              <a:gd name="connsiteX9dup0dup1dup2dup3dup4dup5" fmla="*/ 0 w 899160"/>
              <a:gd name="connsiteY9dup0dup1dup2dup3dup4dup5" fmla="*/ 4975860 h 5745480"/>
              <a:gd name="connsiteX10dup0dup1dup2dup3dup4dup5" fmla="*/ 236220 w 899160"/>
              <a:gd name="connsiteY10dup0dup1dup2dup3dup4dup5" fmla="*/ 5494020 h 5745480"/>
              <a:gd name="connsiteX11dup0dup1dup2dup3dup4dup5" fmla="*/ 228600 w 899160"/>
              <a:gd name="connsiteY11dup0dup1dup2dup3dup4dup5" fmla="*/ 5745480 h 5745480"/>
              <a:gd name="connsiteX12dup0dup1dup2dup3dup4" fmla="*/ 793432 w 899160"/>
              <a:gd name="connsiteY12dup0dup1dup2dup3dup4" fmla="*/ 5616893 h 5745480"/>
              <a:gd name="connsiteX0dup0dup1dup2dup3dup4dup5dup6" fmla="*/ 793432 w 899160"/>
              <a:gd name="connsiteY0dup0dup1dup2dup3dup4dup5dup6" fmla="*/ 5616893 h 5745480"/>
              <a:gd name="connsiteX1dup0dup1dup2dup3dup4dup5dup6" fmla="*/ 792480 w 899160"/>
              <a:gd name="connsiteY1dup0dup1dup2dup3dup4dup5dup6" fmla="*/ 4669155 h 5745480"/>
              <a:gd name="connsiteX2dup0dup1dup2dup3dup4dup5dup6" fmla="*/ 899160 w 899160"/>
              <a:gd name="connsiteY2dup0dup1dup2dup3dup4dup5dup6" fmla="*/ 3017520 h 5745480"/>
              <a:gd name="connsiteX3dup0dup1dup2dup3dup4dup5dup6" fmla="*/ 594360 w 899160"/>
              <a:gd name="connsiteY3dup0dup1dup2dup3dup4dup5dup6" fmla="*/ 1082040 h 5745480"/>
              <a:gd name="connsiteX4dup0dup1dup2dup3dup4dup5dup6" fmla="*/ 320040 w 899160"/>
              <a:gd name="connsiteY4dup0dup1dup2dup3dup4dup5dup6" fmla="*/ 0 h 5745480"/>
              <a:gd name="connsiteX5dup0dup1dup2dup3dup4dup5dup6" fmla="*/ 144780 w 899160"/>
              <a:gd name="connsiteY5dup0dup1dup2dup3dup4dup5dup6" fmla="*/ 7620 h 5745480"/>
              <a:gd name="connsiteX6dup0dup1dup2dup3dup4dup5dup6" fmla="*/ 312420 w 899160"/>
              <a:gd name="connsiteY6dup0dup1dup2dup3dup4dup5dup6" fmla="*/ 1165860 h 5745480"/>
              <a:gd name="connsiteX7dup0dup1dup2dup3dup4dup5dup6" fmla="*/ 213360 w 899160"/>
              <a:gd name="connsiteY7dup0dup1dup2dup3dup4dup5dup6" fmla="*/ 2819400 h 5745480"/>
              <a:gd name="connsiteX8dup0dup1dup2dup3dup4dup5dup6" fmla="*/ 175260 w 899160"/>
              <a:gd name="connsiteY8dup0dup1dup2dup3dup4dup5dup6" fmla="*/ 4328160 h 5745480"/>
              <a:gd name="connsiteX9dup0dup1dup2dup3dup4dup5dup6" fmla="*/ 0 w 899160"/>
              <a:gd name="connsiteY9dup0dup1dup2dup3dup4dup5dup6" fmla="*/ 4975860 h 5745480"/>
              <a:gd name="connsiteX10dup0dup1dup2dup3dup4dup5dup6" fmla="*/ 236220 w 899160"/>
              <a:gd name="connsiteY10dup0dup1dup2dup3dup4dup5dup6" fmla="*/ 5494020 h 5745480"/>
              <a:gd name="connsiteX11dup0dup1dup2dup3dup4dup5dup6" fmla="*/ 228600 w 899160"/>
              <a:gd name="connsiteY11dup0dup1dup2dup3dup4dup5dup6" fmla="*/ 5745480 h 5745480"/>
              <a:gd name="connsiteX12dup0dup1dup2dup3dup4dup5" fmla="*/ 793432 w 899160"/>
              <a:gd name="connsiteY12dup0dup1dup2dup3dup4dup5" fmla="*/ 5616893 h 5745480"/>
              <a:gd name="connsiteX0dup0dup1dup2dup3dup4dup5dup6dup7" fmla="*/ 793432 w 899160"/>
              <a:gd name="connsiteY0dup0dup1dup2dup3dup4dup5dup6dup7" fmla="*/ 5616893 h 5745480"/>
              <a:gd name="connsiteX1dup0dup1dup2dup3dup4dup5dup6dup7" fmla="*/ 716280 w 899160"/>
              <a:gd name="connsiteY1dup0dup1dup2dup3dup4dup5dup6dup7" fmla="*/ 4659630 h 5745480"/>
              <a:gd name="connsiteX2dup0dup1dup2dup3dup4dup5dup6dup7" fmla="*/ 899160 w 899160"/>
              <a:gd name="connsiteY2dup0dup1dup2dup3dup4dup5dup6dup7" fmla="*/ 3017520 h 5745480"/>
              <a:gd name="connsiteX3dup0dup1dup2dup3dup4dup5dup6dup7" fmla="*/ 594360 w 899160"/>
              <a:gd name="connsiteY3dup0dup1dup2dup3dup4dup5dup6dup7" fmla="*/ 1082040 h 5745480"/>
              <a:gd name="connsiteX4dup0dup1dup2dup3dup4dup5dup6dup7" fmla="*/ 320040 w 899160"/>
              <a:gd name="connsiteY4dup0dup1dup2dup3dup4dup5dup6dup7" fmla="*/ 0 h 5745480"/>
              <a:gd name="connsiteX5dup0dup1dup2dup3dup4dup5dup6dup7" fmla="*/ 144780 w 899160"/>
              <a:gd name="connsiteY5dup0dup1dup2dup3dup4dup5dup6dup7" fmla="*/ 7620 h 5745480"/>
              <a:gd name="connsiteX6dup0dup1dup2dup3dup4dup5dup6dup7" fmla="*/ 312420 w 899160"/>
              <a:gd name="connsiteY6dup0dup1dup2dup3dup4dup5dup6dup7" fmla="*/ 1165860 h 5745480"/>
              <a:gd name="connsiteX7dup0dup1dup2dup3dup4dup5dup6dup7" fmla="*/ 213360 w 899160"/>
              <a:gd name="connsiteY7dup0dup1dup2dup3dup4dup5dup6dup7" fmla="*/ 2819400 h 5745480"/>
              <a:gd name="connsiteX8dup0dup1dup2dup3dup4dup5dup6dup7" fmla="*/ 175260 w 899160"/>
              <a:gd name="connsiteY8dup0dup1dup2dup3dup4dup5dup6dup7" fmla="*/ 4328160 h 5745480"/>
              <a:gd name="connsiteX9dup0dup1dup2dup3dup4dup5dup6dup7" fmla="*/ 0 w 899160"/>
              <a:gd name="connsiteY9dup0dup1dup2dup3dup4dup5dup6dup7" fmla="*/ 4975860 h 5745480"/>
              <a:gd name="connsiteX10dup0dup1dup2dup3dup4dup5dup6dup7" fmla="*/ 236220 w 899160"/>
              <a:gd name="connsiteY10dup0dup1dup2dup3dup4dup5dup6dup7" fmla="*/ 5494020 h 5745480"/>
              <a:gd name="connsiteX11dup0dup1dup2dup3dup4dup5dup6dup7" fmla="*/ 228600 w 899160"/>
              <a:gd name="connsiteY11dup0dup1dup2dup3dup4dup5dup6dup7" fmla="*/ 5745480 h 5745480"/>
              <a:gd name="connsiteX12dup0dup1dup2dup3dup4dup5dup6" fmla="*/ 793432 w 899160"/>
              <a:gd name="connsiteY12dup0dup1dup2dup3dup4dup5dup6" fmla="*/ 5616893 h 5745480"/>
              <a:gd name="connsiteX0dup0dup1dup2dup3dup4dup5dup6dup7dup8" fmla="*/ 793432 w 899160"/>
              <a:gd name="connsiteY0dup0dup1dup2dup3dup4dup5dup6dup7dup8" fmla="*/ 5602605 h 5745480"/>
              <a:gd name="connsiteX1dup0dup1dup2dup3dup4dup5dup6dup7dup8" fmla="*/ 716280 w 899160"/>
              <a:gd name="connsiteY1dup0dup1dup2dup3dup4dup5dup6dup7dup8" fmla="*/ 4659630 h 5745480"/>
              <a:gd name="connsiteX2dup0dup1dup2dup3dup4dup5dup6dup7dup8" fmla="*/ 899160 w 899160"/>
              <a:gd name="connsiteY2dup0dup1dup2dup3dup4dup5dup6dup7dup8" fmla="*/ 3017520 h 5745480"/>
              <a:gd name="connsiteX3dup0dup1dup2dup3dup4dup5dup6dup7dup8" fmla="*/ 594360 w 899160"/>
              <a:gd name="connsiteY3dup0dup1dup2dup3dup4dup5dup6dup7dup8" fmla="*/ 1082040 h 5745480"/>
              <a:gd name="connsiteX4dup0dup1dup2dup3dup4dup5dup6dup7dup8" fmla="*/ 320040 w 899160"/>
              <a:gd name="connsiteY4dup0dup1dup2dup3dup4dup5dup6dup7dup8" fmla="*/ 0 h 5745480"/>
              <a:gd name="connsiteX5dup0dup1dup2dup3dup4dup5dup6dup7dup8" fmla="*/ 144780 w 899160"/>
              <a:gd name="connsiteY5dup0dup1dup2dup3dup4dup5dup6dup7dup8" fmla="*/ 7620 h 5745480"/>
              <a:gd name="connsiteX6dup0dup1dup2dup3dup4dup5dup6dup7dup8" fmla="*/ 312420 w 899160"/>
              <a:gd name="connsiteY6dup0dup1dup2dup3dup4dup5dup6dup7dup8" fmla="*/ 1165860 h 5745480"/>
              <a:gd name="connsiteX7dup0dup1dup2dup3dup4dup5dup6dup7dup8" fmla="*/ 213360 w 899160"/>
              <a:gd name="connsiteY7dup0dup1dup2dup3dup4dup5dup6dup7dup8" fmla="*/ 2819400 h 5745480"/>
              <a:gd name="connsiteX8dup0dup1dup2dup3dup4dup5dup6dup7dup8" fmla="*/ 175260 w 899160"/>
              <a:gd name="connsiteY8dup0dup1dup2dup3dup4dup5dup6dup7dup8" fmla="*/ 4328160 h 5745480"/>
              <a:gd name="connsiteX9dup0dup1dup2dup3dup4dup5dup6dup7dup8" fmla="*/ 0 w 899160"/>
              <a:gd name="connsiteY9dup0dup1dup2dup3dup4dup5dup6dup7dup8" fmla="*/ 4975860 h 5745480"/>
              <a:gd name="connsiteX10dup0dup1dup2dup3dup4dup5dup6dup7dup8" fmla="*/ 236220 w 899160"/>
              <a:gd name="connsiteY10dup0dup1dup2dup3dup4dup5dup6dup7dup8" fmla="*/ 5494020 h 5745480"/>
              <a:gd name="connsiteX11dup0dup1dup2dup3dup4dup5dup6dup7dup8" fmla="*/ 228600 w 899160"/>
              <a:gd name="connsiteY11dup0dup1dup2dup3dup4dup5dup6dup7dup8" fmla="*/ 5745480 h 5745480"/>
              <a:gd name="connsiteX12dup0dup1dup2dup3dup4dup5dup6dup7" fmla="*/ 793432 w 899160"/>
              <a:gd name="connsiteY12dup0dup1dup2dup3dup4dup5dup6dup7" fmla="*/ 5602605 h 5745480"/>
            </a:gdLst>
            <a:ahLst/>
            <a:cxnLst>
              <a:cxn ang="0">
                <a:pos x="connsiteX0dup0dup1dup2dup3dup4dup5dup6dup7dup8" y="connsiteY0dup0dup1dup2dup3dup4dup5dup6dup7dup8"/>
              </a:cxn>
              <a:cxn ang="0">
                <a:pos x="connsiteX1dup0dup1dup2dup3dup4dup5dup6dup7dup8" y="connsiteY1dup0dup1dup2dup3dup4dup5dup6dup7dup8"/>
              </a:cxn>
              <a:cxn ang="0">
                <a:pos x="connsiteX2dup0dup1dup2dup3dup4dup5dup6dup7dup8" y="connsiteY2dup0dup1dup2dup3dup4dup5dup6dup7dup8"/>
              </a:cxn>
              <a:cxn ang="0">
                <a:pos x="connsiteX3dup0dup1dup2dup3dup4dup5dup6dup7dup8" y="connsiteY3dup0dup1dup2dup3dup4dup5dup6dup7dup8"/>
              </a:cxn>
              <a:cxn ang="0">
                <a:pos x="connsiteX4dup0dup1dup2dup3dup4dup5dup6dup7dup8" y="connsiteY4dup0dup1dup2dup3dup4dup5dup6dup7dup8"/>
              </a:cxn>
              <a:cxn ang="0">
                <a:pos x="connsiteX5dup0dup1dup2dup3dup4dup5dup6dup7dup8" y="connsiteY5dup0dup1dup2dup3dup4dup5dup6dup7dup8"/>
              </a:cxn>
              <a:cxn ang="0">
                <a:pos x="connsiteX6dup0dup1dup2dup3dup4dup5dup6dup7dup8" y="connsiteY6dup0dup1dup2dup3dup4dup5dup6dup7dup8"/>
              </a:cxn>
              <a:cxn ang="0">
                <a:pos x="connsiteX7dup0dup1dup2dup3dup4dup5dup6dup7dup8" y="connsiteY7dup0dup1dup2dup3dup4dup5dup6dup7dup8"/>
              </a:cxn>
              <a:cxn ang="0">
                <a:pos x="connsiteX8dup0dup1dup2dup3dup4dup5dup6dup7dup8" y="connsiteY8dup0dup1dup2dup3dup4dup5dup6dup7dup8"/>
              </a:cxn>
              <a:cxn ang="0">
                <a:pos x="connsiteX9dup0dup1dup2dup3dup4dup5dup6dup7dup8" y="connsiteY9dup0dup1dup2dup3dup4dup5dup6dup7dup8"/>
              </a:cxn>
              <a:cxn ang="0">
                <a:pos x="connsiteX10dup0dup1dup2dup3dup4dup5dup6dup7dup8" y="connsiteY10dup0dup1dup2dup3dup4dup5dup6dup7dup8"/>
              </a:cxn>
              <a:cxn ang="0">
                <a:pos x="connsiteX11dup0dup1dup2dup3dup4dup5dup6dup7dup8" y="connsiteY11dup0dup1dup2dup3dup4dup5dup6dup7dup8"/>
              </a:cxn>
              <a:cxn ang="0">
                <a:pos x="connsiteX12dup0dup1dup2dup3dup4dup5dup6dup7" y="connsiteY12dup0dup1dup2dup3dup4dup5dup6dup7"/>
              </a:cxn>
            </a:cxnLst>
            <a:rect l="l" t="t" r="r" b="b"/>
            <a:pathLst>
              <a:path w="899160" h="5745480">
                <a:moveTo>
                  <a:pt x="793432" y="5602605"/>
                </a:moveTo>
                <a:cubicBezTo>
                  <a:pt x="793115" y="5286692"/>
                  <a:pt x="716597" y="4975543"/>
                  <a:pt x="716280" y="4659630"/>
                </a:cubicBezTo>
                <a:lnTo>
                  <a:pt x="899160" y="3017520"/>
                </a:lnTo>
                <a:lnTo>
                  <a:pt x="594360" y="1082040"/>
                </a:lnTo>
                <a:lnTo>
                  <a:pt x="320040" y="0"/>
                </a:lnTo>
                <a:lnTo>
                  <a:pt x="144780" y="7620"/>
                </a:lnTo>
                <a:lnTo>
                  <a:pt x="312420" y="1165860"/>
                </a:lnTo>
                <a:cubicBezTo>
                  <a:pt x="289560" y="1719580"/>
                  <a:pt x="236220" y="2265680"/>
                  <a:pt x="213360" y="2819400"/>
                </a:cubicBezTo>
                <a:lnTo>
                  <a:pt x="175260" y="4328160"/>
                </a:lnTo>
                <a:lnTo>
                  <a:pt x="0" y="4975860"/>
                </a:lnTo>
                <a:lnTo>
                  <a:pt x="236220" y="5494020"/>
                </a:lnTo>
                <a:lnTo>
                  <a:pt x="228600" y="5745480"/>
                </a:lnTo>
                <a:lnTo>
                  <a:pt x="793432" y="5602605"/>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0" name="자유형 179"/>
          <p:cNvSpPr/>
          <p:nvPr/>
        </p:nvSpPr>
        <p:spPr>
          <a:xfrm>
            <a:off x="6891003" y="4798980"/>
            <a:ext cx="407775" cy="1334837"/>
          </a:xfrm>
          <a:custGeom>
            <a:avLst/>
            <a:gdLst>
              <a:gd name="connsiteX0" fmla="*/ 967740 w 1089660"/>
              <a:gd name="connsiteY0" fmla="*/ 4465320 h 4663440"/>
              <a:gd name="connsiteX1" fmla="*/ 1089660 w 1089660"/>
              <a:gd name="connsiteY1" fmla="*/ 3009900 h 4663440"/>
              <a:gd name="connsiteX2" fmla="*/ 647700 w 1089660"/>
              <a:gd name="connsiteY2" fmla="*/ 1158240 h 4663440"/>
              <a:gd name="connsiteX3" fmla="*/ 175260 w 1089660"/>
              <a:gd name="connsiteY3" fmla="*/ 0 h 4663440"/>
              <a:gd name="connsiteX4" fmla="*/ 0 w 1089660"/>
              <a:gd name="connsiteY4" fmla="*/ 22860 h 4663440"/>
              <a:gd name="connsiteX5" fmla="*/ 297180 w 1089660"/>
              <a:gd name="connsiteY5" fmla="*/ 1158240 h 4663440"/>
              <a:gd name="connsiteX6" fmla="*/ 586740 w 1089660"/>
              <a:gd name="connsiteY6" fmla="*/ 3063240 h 4663440"/>
              <a:gd name="connsiteX7" fmla="*/ 411480 w 1089660"/>
              <a:gd name="connsiteY7" fmla="*/ 4663440 h 4663440"/>
              <a:gd name="connsiteX8" fmla="*/ 967740 w 1089660"/>
              <a:gd name="connsiteY8" fmla="*/ 4465320 h 466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9660" h="4663440">
                <a:moveTo>
                  <a:pt x="967740" y="4465320"/>
                </a:moveTo>
                <a:lnTo>
                  <a:pt x="1089660" y="3009900"/>
                </a:lnTo>
                <a:lnTo>
                  <a:pt x="647700" y="1158240"/>
                </a:lnTo>
                <a:lnTo>
                  <a:pt x="175260" y="0"/>
                </a:lnTo>
                <a:lnTo>
                  <a:pt x="0" y="22860"/>
                </a:lnTo>
                <a:lnTo>
                  <a:pt x="297180" y="1158240"/>
                </a:lnTo>
                <a:lnTo>
                  <a:pt x="586740" y="3063240"/>
                </a:lnTo>
                <a:lnTo>
                  <a:pt x="411480" y="4663440"/>
                </a:lnTo>
                <a:lnTo>
                  <a:pt x="967740" y="446532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1" name="자유형 180"/>
          <p:cNvSpPr/>
          <p:nvPr/>
        </p:nvSpPr>
        <p:spPr>
          <a:xfrm>
            <a:off x="6956589" y="4796799"/>
            <a:ext cx="664417" cy="1500601"/>
          </a:xfrm>
          <a:custGeom>
            <a:avLst/>
            <a:gdLst>
              <a:gd name="connsiteX0" fmla="*/ 1478280 w 1775460"/>
              <a:gd name="connsiteY0" fmla="*/ 5242560 h 5242560"/>
              <a:gd name="connsiteX1" fmla="*/ 1775460 w 1775460"/>
              <a:gd name="connsiteY1" fmla="*/ 5242560 h 5242560"/>
              <a:gd name="connsiteX2" fmla="*/ 1615440 w 1775460"/>
              <a:gd name="connsiteY2" fmla="*/ 4709160 h 5242560"/>
              <a:gd name="connsiteX3" fmla="*/ 1653540 w 1775460"/>
              <a:gd name="connsiteY3" fmla="*/ 3947160 h 5242560"/>
              <a:gd name="connsiteX4" fmla="*/ 1386840 w 1775460"/>
              <a:gd name="connsiteY4" fmla="*/ 3954780 h 5242560"/>
              <a:gd name="connsiteX5" fmla="*/ 1447800 w 1775460"/>
              <a:gd name="connsiteY5" fmla="*/ 2461260 h 5242560"/>
              <a:gd name="connsiteX6" fmla="*/ 381000 w 1775460"/>
              <a:gd name="connsiteY6" fmla="*/ 0 h 5242560"/>
              <a:gd name="connsiteX7" fmla="*/ 0 w 1775460"/>
              <a:gd name="connsiteY7" fmla="*/ 7620 h 5242560"/>
              <a:gd name="connsiteX8" fmla="*/ 487680 w 1775460"/>
              <a:gd name="connsiteY8" fmla="*/ 1165860 h 5242560"/>
              <a:gd name="connsiteX9" fmla="*/ 922020 w 1775460"/>
              <a:gd name="connsiteY9" fmla="*/ 3048000 h 5242560"/>
              <a:gd name="connsiteX10" fmla="*/ 792480 w 1775460"/>
              <a:gd name="connsiteY10" fmla="*/ 4480560 h 5242560"/>
              <a:gd name="connsiteX11" fmla="*/ 868680 w 1775460"/>
              <a:gd name="connsiteY11" fmla="*/ 4747260 h 5242560"/>
              <a:gd name="connsiteX12" fmla="*/ 929640 w 1775460"/>
              <a:gd name="connsiteY12" fmla="*/ 5044440 h 5242560"/>
              <a:gd name="connsiteX13" fmla="*/ 1196340 w 1775460"/>
              <a:gd name="connsiteY13" fmla="*/ 4945380 h 5242560"/>
              <a:gd name="connsiteX14" fmla="*/ 1478280 w 1775460"/>
              <a:gd name="connsiteY14" fmla="*/ 5242560 h 5242560"/>
              <a:gd name="connsiteX0dup0" fmla="*/ 1478280 w 1775460"/>
              <a:gd name="connsiteY0dup0" fmla="*/ 5242560 h 5242560"/>
              <a:gd name="connsiteX1dup0" fmla="*/ 1775460 w 1775460"/>
              <a:gd name="connsiteY1dup0" fmla="*/ 5242560 h 5242560"/>
              <a:gd name="connsiteX2dup0" fmla="*/ 1615440 w 1775460"/>
              <a:gd name="connsiteY2dup0" fmla="*/ 4709160 h 5242560"/>
              <a:gd name="connsiteX3dup0" fmla="*/ 1653540 w 1775460"/>
              <a:gd name="connsiteY3dup0" fmla="*/ 3947160 h 5242560"/>
              <a:gd name="connsiteX4dup0" fmla="*/ 1386840 w 1775460"/>
              <a:gd name="connsiteY4dup0" fmla="*/ 3954780 h 5242560"/>
              <a:gd name="connsiteX5dup0" fmla="*/ 1447800 w 1775460"/>
              <a:gd name="connsiteY5dup0" fmla="*/ 2461260 h 5242560"/>
              <a:gd name="connsiteX6dup0" fmla="*/ 381000 w 1775460"/>
              <a:gd name="connsiteY6dup0" fmla="*/ 0 h 5242560"/>
              <a:gd name="connsiteX7dup0" fmla="*/ 0 w 1775460"/>
              <a:gd name="connsiteY7dup0" fmla="*/ 7620 h 5242560"/>
              <a:gd name="connsiteX8dup0" fmla="*/ 480060 w 1775460"/>
              <a:gd name="connsiteY8dup0" fmla="*/ 1188720 h 5242560"/>
              <a:gd name="connsiteX9dup0" fmla="*/ 922020 w 1775460"/>
              <a:gd name="connsiteY9dup0" fmla="*/ 3048000 h 5242560"/>
              <a:gd name="connsiteX10dup0" fmla="*/ 792480 w 1775460"/>
              <a:gd name="connsiteY10dup0" fmla="*/ 4480560 h 5242560"/>
              <a:gd name="connsiteX11dup0" fmla="*/ 868680 w 1775460"/>
              <a:gd name="connsiteY11dup0" fmla="*/ 4747260 h 5242560"/>
              <a:gd name="connsiteX12dup0" fmla="*/ 929640 w 1775460"/>
              <a:gd name="connsiteY12dup0" fmla="*/ 5044440 h 5242560"/>
              <a:gd name="connsiteX13dup0" fmla="*/ 1196340 w 1775460"/>
              <a:gd name="connsiteY13dup0" fmla="*/ 4945380 h 5242560"/>
              <a:gd name="connsiteX14dup0" fmla="*/ 1478280 w 1775460"/>
              <a:gd name="connsiteY14dup0" fmla="*/ 5242560 h 524256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Lst>
            <a:rect l="l" t="t" r="r" b="b"/>
            <a:pathLst>
              <a:path w="1775460" h="5242560">
                <a:moveTo>
                  <a:pt x="1478280" y="5242560"/>
                </a:moveTo>
                <a:lnTo>
                  <a:pt x="1775460" y="5242560"/>
                </a:lnTo>
                <a:lnTo>
                  <a:pt x="1615440" y="4709160"/>
                </a:lnTo>
                <a:lnTo>
                  <a:pt x="1653540" y="3947160"/>
                </a:lnTo>
                <a:lnTo>
                  <a:pt x="1386840" y="3954780"/>
                </a:lnTo>
                <a:lnTo>
                  <a:pt x="1447800" y="2461260"/>
                </a:lnTo>
                <a:lnTo>
                  <a:pt x="381000" y="0"/>
                </a:lnTo>
                <a:lnTo>
                  <a:pt x="0" y="7620"/>
                </a:lnTo>
                <a:lnTo>
                  <a:pt x="480060" y="1188720"/>
                </a:lnTo>
                <a:lnTo>
                  <a:pt x="922020" y="3048000"/>
                </a:lnTo>
                <a:lnTo>
                  <a:pt x="792480" y="4480560"/>
                </a:lnTo>
                <a:lnTo>
                  <a:pt x="868680" y="4747260"/>
                </a:lnTo>
                <a:lnTo>
                  <a:pt x="929640" y="5044440"/>
                </a:lnTo>
                <a:lnTo>
                  <a:pt x="1196340" y="4945380"/>
                </a:lnTo>
                <a:lnTo>
                  <a:pt x="1478280" y="524256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2" name="자유형 181"/>
          <p:cNvSpPr/>
          <p:nvPr/>
        </p:nvSpPr>
        <p:spPr>
          <a:xfrm>
            <a:off x="7102020" y="4781531"/>
            <a:ext cx="958129" cy="1293396"/>
          </a:xfrm>
          <a:custGeom>
            <a:avLst/>
            <a:gdLst>
              <a:gd name="connsiteX0" fmla="*/ 1242060 w 2560320"/>
              <a:gd name="connsiteY0" fmla="*/ 4518660 h 4518660"/>
              <a:gd name="connsiteX1" fmla="*/ 2308860 w 2560320"/>
              <a:gd name="connsiteY1" fmla="*/ 3863340 h 4518660"/>
              <a:gd name="connsiteX2" fmla="*/ 2560320 w 2560320"/>
              <a:gd name="connsiteY2" fmla="*/ 3131820 h 4518660"/>
              <a:gd name="connsiteX3" fmla="*/ 2202180 w 2560320"/>
              <a:gd name="connsiteY3" fmla="*/ 2606040 h 4518660"/>
              <a:gd name="connsiteX4" fmla="*/ 1668780 w 2560320"/>
              <a:gd name="connsiteY4" fmla="*/ 2133600 h 4518660"/>
              <a:gd name="connsiteX5" fmla="*/ 1333500 w 2560320"/>
              <a:gd name="connsiteY5" fmla="*/ 1897380 h 4518660"/>
              <a:gd name="connsiteX6" fmla="*/ 1409700 w 2560320"/>
              <a:gd name="connsiteY6" fmla="*/ 1661160 h 4518660"/>
              <a:gd name="connsiteX7" fmla="*/ 1287780 w 2560320"/>
              <a:gd name="connsiteY7" fmla="*/ 1112520 h 4518660"/>
              <a:gd name="connsiteX8" fmla="*/ 1158240 w 2560320"/>
              <a:gd name="connsiteY8" fmla="*/ 701040 h 4518660"/>
              <a:gd name="connsiteX9" fmla="*/ 784860 w 2560320"/>
              <a:gd name="connsiteY9" fmla="*/ 487680 h 4518660"/>
              <a:gd name="connsiteX10" fmla="*/ 693420 w 2560320"/>
              <a:gd name="connsiteY10" fmla="*/ 0 h 4518660"/>
              <a:gd name="connsiteX11" fmla="*/ 0 w 2560320"/>
              <a:gd name="connsiteY11" fmla="*/ 53340 h 4518660"/>
              <a:gd name="connsiteX12" fmla="*/ 1066800 w 2560320"/>
              <a:gd name="connsiteY12" fmla="*/ 2537460 h 4518660"/>
              <a:gd name="connsiteX13" fmla="*/ 982980 w 2560320"/>
              <a:gd name="connsiteY13" fmla="*/ 4000500 h 4518660"/>
              <a:gd name="connsiteX14" fmla="*/ 1272540 w 2560320"/>
              <a:gd name="connsiteY14" fmla="*/ 3992880 h 4518660"/>
              <a:gd name="connsiteX15" fmla="*/ 1242060 w 2560320"/>
              <a:gd name="connsiteY15" fmla="*/ 4518660 h 451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0320" h="4518660">
                <a:moveTo>
                  <a:pt x="1242060" y="4518660"/>
                </a:moveTo>
                <a:lnTo>
                  <a:pt x="2308860" y="3863340"/>
                </a:lnTo>
                <a:lnTo>
                  <a:pt x="2560320" y="3131820"/>
                </a:lnTo>
                <a:lnTo>
                  <a:pt x="2202180" y="2606040"/>
                </a:lnTo>
                <a:lnTo>
                  <a:pt x="1668780" y="2133600"/>
                </a:lnTo>
                <a:lnTo>
                  <a:pt x="1333500" y="1897380"/>
                </a:lnTo>
                <a:lnTo>
                  <a:pt x="1409700" y="1661160"/>
                </a:lnTo>
                <a:lnTo>
                  <a:pt x="1287780" y="1112520"/>
                </a:lnTo>
                <a:lnTo>
                  <a:pt x="1158240" y="701040"/>
                </a:lnTo>
                <a:lnTo>
                  <a:pt x="784860" y="487680"/>
                </a:lnTo>
                <a:lnTo>
                  <a:pt x="693420" y="0"/>
                </a:lnTo>
                <a:lnTo>
                  <a:pt x="0" y="53340"/>
                </a:lnTo>
                <a:lnTo>
                  <a:pt x="1066800" y="2537460"/>
                </a:lnTo>
                <a:lnTo>
                  <a:pt x="982980" y="4000500"/>
                </a:lnTo>
                <a:lnTo>
                  <a:pt x="1272540" y="3992880"/>
                </a:lnTo>
                <a:lnTo>
                  <a:pt x="1242060" y="451866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3" name="자유형 182"/>
          <p:cNvSpPr/>
          <p:nvPr/>
        </p:nvSpPr>
        <p:spPr>
          <a:xfrm>
            <a:off x="6351532" y="4808506"/>
            <a:ext cx="539937" cy="1679897"/>
          </a:xfrm>
          <a:custGeom>
            <a:avLst/>
            <a:gdLst>
              <a:gd name="connsiteX0" fmla="*/ 1352939 w 1436914"/>
              <a:gd name="connsiteY0" fmla="*/ 5728996 h 5868955"/>
              <a:gd name="connsiteX1" fmla="*/ 1352939 w 1436914"/>
              <a:gd name="connsiteY1" fmla="*/ 5477070 h 5868955"/>
              <a:gd name="connsiteX2" fmla="*/ 1119673 w 1436914"/>
              <a:gd name="connsiteY2" fmla="*/ 4963886 h 5868955"/>
              <a:gd name="connsiteX3" fmla="*/ 1296955 w 1436914"/>
              <a:gd name="connsiteY3" fmla="*/ 4292082 h 5868955"/>
              <a:gd name="connsiteX4" fmla="*/ 1343608 w 1436914"/>
              <a:gd name="connsiteY4" fmla="*/ 2761861 h 5868955"/>
              <a:gd name="connsiteX5" fmla="*/ 1436914 w 1436914"/>
              <a:gd name="connsiteY5" fmla="*/ 1119674 h 5868955"/>
              <a:gd name="connsiteX6" fmla="*/ 1268963 w 1436914"/>
              <a:gd name="connsiteY6" fmla="*/ 0 h 5868955"/>
              <a:gd name="connsiteX7" fmla="*/ 1026367 w 1436914"/>
              <a:gd name="connsiteY7" fmla="*/ 0 h 5868955"/>
              <a:gd name="connsiteX8" fmla="*/ 429208 w 1436914"/>
              <a:gd name="connsiteY8" fmla="*/ 1175657 h 5868955"/>
              <a:gd name="connsiteX9" fmla="*/ 233265 w 1436914"/>
              <a:gd name="connsiteY9" fmla="*/ 3135086 h 5868955"/>
              <a:gd name="connsiteX10" fmla="*/ 251926 w 1436914"/>
              <a:gd name="connsiteY10" fmla="*/ 4506686 h 5868955"/>
              <a:gd name="connsiteX11" fmla="*/ 0 w 1436914"/>
              <a:gd name="connsiteY11" fmla="*/ 4851919 h 5868955"/>
              <a:gd name="connsiteX12" fmla="*/ 9330 w 1436914"/>
              <a:gd name="connsiteY12" fmla="*/ 5383763 h 5868955"/>
              <a:gd name="connsiteX13" fmla="*/ 186612 w 1436914"/>
              <a:gd name="connsiteY13" fmla="*/ 5374433 h 5868955"/>
              <a:gd name="connsiteX14" fmla="*/ 569167 w 1436914"/>
              <a:gd name="connsiteY14" fmla="*/ 5868955 h 5868955"/>
              <a:gd name="connsiteX15" fmla="*/ 1129004 w 1436914"/>
              <a:gd name="connsiteY15" fmla="*/ 5812972 h 5868955"/>
              <a:gd name="connsiteX16" fmla="*/ 1352939 w 1436914"/>
              <a:gd name="connsiteY16" fmla="*/ 5728996 h 5868955"/>
              <a:gd name="connsiteX0dup0" fmla="*/ 1352939 w 1436914"/>
              <a:gd name="connsiteY0dup0" fmla="*/ 5728996 h 5868955"/>
              <a:gd name="connsiteX1dup0" fmla="*/ 1352939 w 1436914"/>
              <a:gd name="connsiteY1dup0" fmla="*/ 5477070 h 5868955"/>
              <a:gd name="connsiteX2dup0" fmla="*/ 1119673 w 1436914"/>
              <a:gd name="connsiteY2dup0" fmla="*/ 4963886 h 5868955"/>
              <a:gd name="connsiteX3dup0" fmla="*/ 1296955 w 1436914"/>
              <a:gd name="connsiteY3dup0" fmla="*/ 4292082 h 5868955"/>
              <a:gd name="connsiteX4dup0" fmla="*/ 1343608 w 1436914"/>
              <a:gd name="connsiteY4dup0" fmla="*/ 2761861 h 5868955"/>
              <a:gd name="connsiteX5dup0" fmla="*/ 1436914 w 1436914"/>
              <a:gd name="connsiteY5dup0" fmla="*/ 1119674 h 5868955"/>
              <a:gd name="connsiteX6dup0" fmla="*/ 1268963 w 1436914"/>
              <a:gd name="connsiteY6dup0" fmla="*/ 0 h 5868955"/>
              <a:gd name="connsiteX7dup0" fmla="*/ 1026367 w 1436914"/>
              <a:gd name="connsiteY7dup0" fmla="*/ 0 h 5868955"/>
              <a:gd name="connsiteX8dup0" fmla="*/ 429208 w 1436914"/>
              <a:gd name="connsiteY8dup0" fmla="*/ 1175657 h 5868955"/>
              <a:gd name="connsiteX9dup0" fmla="*/ 218025 w 1436914"/>
              <a:gd name="connsiteY9dup0" fmla="*/ 3112226 h 5868955"/>
              <a:gd name="connsiteX10dup0" fmla="*/ 251926 w 1436914"/>
              <a:gd name="connsiteY10dup0" fmla="*/ 4506686 h 5868955"/>
              <a:gd name="connsiteX11dup0" fmla="*/ 0 w 1436914"/>
              <a:gd name="connsiteY11dup0" fmla="*/ 4851919 h 5868955"/>
              <a:gd name="connsiteX12dup0" fmla="*/ 9330 w 1436914"/>
              <a:gd name="connsiteY12dup0" fmla="*/ 5383763 h 5868955"/>
              <a:gd name="connsiteX13dup0" fmla="*/ 186612 w 1436914"/>
              <a:gd name="connsiteY13dup0" fmla="*/ 5374433 h 5868955"/>
              <a:gd name="connsiteX14dup0" fmla="*/ 569167 w 1436914"/>
              <a:gd name="connsiteY14dup0" fmla="*/ 5868955 h 5868955"/>
              <a:gd name="connsiteX15dup0" fmla="*/ 1129004 w 1436914"/>
              <a:gd name="connsiteY15dup0" fmla="*/ 5812972 h 5868955"/>
              <a:gd name="connsiteX16dup0" fmla="*/ 1352939 w 1436914"/>
              <a:gd name="connsiteY16dup0" fmla="*/ 5728996 h 5868955"/>
              <a:gd name="connsiteX0dup0dup1" fmla="*/ 1352939 w 1436914"/>
              <a:gd name="connsiteY0dup0dup1" fmla="*/ 5728996 h 5868955"/>
              <a:gd name="connsiteX1dup0dup1" fmla="*/ 1352939 w 1436914"/>
              <a:gd name="connsiteY1dup0dup1" fmla="*/ 5477070 h 5868955"/>
              <a:gd name="connsiteX2dup0dup1" fmla="*/ 1119673 w 1436914"/>
              <a:gd name="connsiteY2dup0dup1" fmla="*/ 4963886 h 5868955"/>
              <a:gd name="connsiteX3dup0dup1" fmla="*/ 1296955 w 1436914"/>
              <a:gd name="connsiteY3dup0dup1" fmla="*/ 4292082 h 5868955"/>
              <a:gd name="connsiteX4dup0dup1" fmla="*/ 1343608 w 1436914"/>
              <a:gd name="connsiteY4dup0dup1" fmla="*/ 2761861 h 5868955"/>
              <a:gd name="connsiteX5dup0dup1" fmla="*/ 1436914 w 1436914"/>
              <a:gd name="connsiteY5dup0dup1" fmla="*/ 1119674 h 5868955"/>
              <a:gd name="connsiteX6dup0dup1" fmla="*/ 1268963 w 1436914"/>
              <a:gd name="connsiteY6dup0dup1" fmla="*/ 0 h 5868955"/>
              <a:gd name="connsiteX7dup0dup1" fmla="*/ 1026367 w 1436914"/>
              <a:gd name="connsiteY7dup0dup1" fmla="*/ 0 h 5868955"/>
              <a:gd name="connsiteX8dup0dup1" fmla="*/ 429208 w 1436914"/>
              <a:gd name="connsiteY8dup0dup1" fmla="*/ 1175657 h 5868955"/>
              <a:gd name="connsiteX9dup0dup1" fmla="*/ 218025 w 1436914"/>
              <a:gd name="connsiteY9dup0dup1" fmla="*/ 3112226 h 5868955"/>
              <a:gd name="connsiteX10dup0dup1" fmla="*/ 251926 w 1436914"/>
              <a:gd name="connsiteY10dup0dup1" fmla="*/ 4506686 h 5868955"/>
              <a:gd name="connsiteX11dup0dup1" fmla="*/ 0 w 1436914"/>
              <a:gd name="connsiteY11dup0dup1" fmla="*/ 4851919 h 5868955"/>
              <a:gd name="connsiteX12dup0dup1" fmla="*/ 9330 w 1436914"/>
              <a:gd name="connsiteY12dup0dup1" fmla="*/ 5383763 h 5868955"/>
              <a:gd name="connsiteX13dup0dup1" fmla="*/ 178992 w 1436914"/>
              <a:gd name="connsiteY13dup0dup1" fmla="*/ 5397293 h 5868955"/>
              <a:gd name="connsiteX14dup0dup1" fmla="*/ 569167 w 1436914"/>
              <a:gd name="connsiteY14dup0dup1" fmla="*/ 5868955 h 5868955"/>
              <a:gd name="connsiteX15dup0dup1" fmla="*/ 1129004 w 1436914"/>
              <a:gd name="connsiteY15dup0dup1" fmla="*/ 5812972 h 5868955"/>
              <a:gd name="connsiteX16dup0dup1" fmla="*/ 1352939 w 1436914"/>
              <a:gd name="connsiteY16dup0dup1" fmla="*/ 5728996 h 5868955"/>
              <a:gd name="connsiteX0dup0dup1dup2" fmla="*/ 1358849 w 1442824"/>
              <a:gd name="connsiteY0dup0dup1dup2" fmla="*/ 5728996 h 5868955"/>
              <a:gd name="connsiteX1dup0dup1dup2" fmla="*/ 1358849 w 1442824"/>
              <a:gd name="connsiteY1dup0dup1dup2" fmla="*/ 5477070 h 5868955"/>
              <a:gd name="connsiteX2dup0dup1dup2" fmla="*/ 1125583 w 1442824"/>
              <a:gd name="connsiteY2dup0dup1dup2" fmla="*/ 4963886 h 5868955"/>
              <a:gd name="connsiteX3dup0dup1dup2" fmla="*/ 1302865 w 1442824"/>
              <a:gd name="connsiteY3dup0dup1dup2" fmla="*/ 4292082 h 5868955"/>
              <a:gd name="connsiteX4dup0dup1dup2" fmla="*/ 1349518 w 1442824"/>
              <a:gd name="connsiteY4dup0dup1dup2" fmla="*/ 2761861 h 5868955"/>
              <a:gd name="connsiteX5dup0dup1dup2" fmla="*/ 1442824 w 1442824"/>
              <a:gd name="connsiteY5dup0dup1dup2" fmla="*/ 1119674 h 5868955"/>
              <a:gd name="connsiteX6dup0dup1dup2" fmla="*/ 1274873 w 1442824"/>
              <a:gd name="connsiteY6dup0dup1dup2" fmla="*/ 0 h 5868955"/>
              <a:gd name="connsiteX7dup0dup1dup2" fmla="*/ 1032277 w 1442824"/>
              <a:gd name="connsiteY7dup0dup1dup2" fmla="*/ 0 h 5868955"/>
              <a:gd name="connsiteX8dup0dup1dup2" fmla="*/ 435118 w 1442824"/>
              <a:gd name="connsiteY8dup0dup1dup2" fmla="*/ 1175657 h 5868955"/>
              <a:gd name="connsiteX9dup0dup1dup2" fmla="*/ 223935 w 1442824"/>
              <a:gd name="connsiteY9dup0dup1dup2" fmla="*/ 3112226 h 5868955"/>
              <a:gd name="connsiteX10dup0dup1dup2" fmla="*/ 257836 w 1442824"/>
              <a:gd name="connsiteY10dup0dup1dup2" fmla="*/ 4506686 h 5868955"/>
              <a:gd name="connsiteX11dup0dup1dup2" fmla="*/ 5910 w 1442824"/>
              <a:gd name="connsiteY11dup0dup1dup2" fmla="*/ 4851919 h 5868955"/>
              <a:gd name="connsiteX12dup0dup1dup2" fmla="*/ 0 w 1442824"/>
              <a:gd name="connsiteY12dup0dup1dup2" fmla="*/ 5383763 h 5868955"/>
              <a:gd name="connsiteX13dup0dup1dup2" fmla="*/ 184902 w 1442824"/>
              <a:gd name="connsiteY13dup0dup1dup2" fmla="*/ 5397293 h 5868955"/>
              <a:gd name="connsiteX14dup0dup1dup2" fmla="*/ 575077 w 1442824"/>
              <a:gd name="connsiteY14dup0dup1dup2" fmla="*/ 5868955 h 5868955"/>
              <a:gd name="connsiteX15dup0dup1dup2" fmla="*/ 1134914 w 1442824"/>
              <a:gd name="connsiteY15dup0dup1dup2" fmla="*/ 5812972 h 5868955"/>
              <a:gd name="connsiteX16dup0dup1dup2" fmla="*/ 1358849 w 1442824"/>
              <a:gd name="connsiteY16dup0dup1dup2" fmla="*/ 5728996 h 586895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Lst>
            <a:rect l="l" t="t" r="r" b="b"/>
            <a:pathLst>
              <a:path w="1442824" h="5868955">
                <a:moveTo>
                  <a:pt x="1358849" y="5728996"/>
                </a:moveTo>
                <a:lnTo>
                  <a:pt x="1358849" y="5477070"/>
                </a:lnTo>
                <a:lnTo>
                  <a:pt x="1125583" y="4963886"/>
                </a:lnTo>
                <a:lnTo>
                  <a:pt x="1302865" y="4292082"/>
                </a:lnTo>
                <a:lnTo>
                  <a:pt x="1349518" y="2761861"/>
                </a:lnTo>
                <a:lnTo>
                  <a:pt x="1442824" y="1119674"/>
                </a:lnTo>
                <a:lnTo>
                  <a:pt x="1274873" y="0"/>
                </a:lnTo>
                <a:lnTo>
                  <a:pt x="1032277" y="0"/>
                </a:lnTo>
                <a:lnTo>
                  <a:pt x="435118" y="1175657"/>
                </a:lnTo>
                <a:lnTo>
                  <a:pt x="223935" y="3112226"/>
                </a:lnTo>
                <a:lnTo>
                  <a:pt x="257836" y="4506686"/>
                </a:lnTo>
                <a:lnTo>
                  <a:pt x="5910" y="4851919"/>
                </a:lnTo>
                <a:lnTo>
                  <a:pt x="0" y="5383763"/>
                </a:lnTo>
                <a:lnTo>
                  <a:pt x="184902" y="5397293"/>
                </a:lnTo>
                <a:lnTo>
                  <a:pt x="575077" y="5868955"/>
                </a:lnTo>
                <a:lnTo>
                  <a:pt x="1134914" y="5812972"/>
                </a:lnTo>
                <a:lnTo>
                  <a:pt x="1358849" y="5728996"/>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4" name="TextBox 183"/>
          <p:cNvSpPr txBox="1"/>
          <p:nvPr/>
        </p:nvSpPr>
        <p:spPr>
          <a:xfrm>
            <a:off x="5352209" y="5735045"/>
            <a:ext cx="54839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예래동</a:t>
            </a:r>
          </a:p>
        </p:txBody>
      </p:sp>
      <p:sp>
        <p:nvSpPr>
          <p:cNvPr id="185" name="TextBox 184"/>
          <p:cNvSpPr txBox="1"/>
          <p:nvPr/>
        </p:nvSpPr>
        <p:spPr>
          <a:xfrm>
            <a:off x="5936962" y="5725839"/>
            <a:ext cx="518877"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중문동</a:t>
            </a:r>
          </a:p>
        </p:txBody>
      </p:sp>
      <p:sp>
        <p:nvSpPr>
          <p:cNvPr id="186" name="TextBox 185"/>
          <p:cNvSpPr txBox="1"/>
          <p:nvPr/>
        </p:nvSpPr>
        <p:spPr>
          <a:xfrm>
            <a:off x="6691407" y="5530005"/>
            <a:ext cx="548085"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대륜동</a:t>
            </a:r>
          </a:p>
        </p:txBody>
      </p:sp>
      <p:sp>
        <p:nvSpPr>
          <p:cNvPr id="187" name="TextBox 186"/>
          <p:cNvSpPr txBox="1"/>
          <p:nvPr/>
        </p:nvSpPr>
        <p:spPr>
          <a:xfrm>
            <a:off x="6468624" y="5725839"/>
            <a:ext cx="565061"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대천동</a:t>
            </a:r>
          </a:p>
        </p:txBody>
      </p:sp>
      <p:sp>
        <p:nvSpPr>
          <p:cNvPr id="188" name="TextBox 187"/>
          <p:cNvSpPr txBox="1"/>
          <p:nvPr/>
        </p:nvSpPr>
        <p:spPr>
          <a:xfrm>
            <a:off x="7018125" y="5722455"/>
            <a:ext cx="408993"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서홍동</a:t>
            </a:r>
          </a:p>
        </p:txBody>
      </p:sp>
      <p:sp>
        <p:nvSpPr>
          <p:cNvPr id="189" name="TextBox 188"/>
          <p:cNvSpPr txBox="1"/>
          <p:nvPr/>
        </p:nvSpPr>
        <p:spPr>
          <a:xfrm>
            <a:off x="7201609" y="5459729"/>
            <a:ext cx="63027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홍동</a:t>
            </a:r>
          </a:p>
        </p:txBody>
      </p:sp>
      <p:sp>
        <p:nvSpPr>
          <p:cNvPr id="190" name="TextBox 189"/>
          <p:cNvSpPr txBox="1"/>
          <p:nvPr/>
        </p:nvSpPr>
        <p:spPr>
          <a:xfrm>
            <a:off x="7579375" y="5673398"/>
            <a:ext cx="427936"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영천동</a:t>
            </a:r>
          </a:p>
        </p:txBody>
      </p:sp>
      <p:sp>
        <p:nvSpPr>
          <p:cNvPr id="191" name="TextBox 190"/>
          <p:cNvSpPr txBox="1"/>
          <p:nvPr/>
        </p:nvSpPr>
        <p:spPr>
          <a:xfrm>
            <a:off x="7588385" y="6091238"/>
            <a:ext cx="45796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효돈동</a:t>
            </a:r>
          </a:p>
        </p:txBody>
      </p:sp>
      <p:cxnSp>
        <p:nvCxnSpPr>
          <p:cNvPr id="194" name="꺾인 연결선 193"/>
          <p:cNvCxnSpPr/>
          <p:nvPr/>
        </p:nvCxnSpPr>
        <p:spPr>
          <a:xfrm rot="16200000" flipH="1">
            <a:off x="7617013" y="6004146"/>
            <a:ext cx="94392" cy="629280"/>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95" name="꺾인 연결선 194"/>
          <p:cNvCxnSpPr/>
          <p:nvPr/>
        </p:nvCxnSpPr>
        <p:spPr>
          <a:xfrm rot="5400000">
            <a:off x="6661849" y="6136861"/>
            <a:ext cx="283176" cy="629280"/>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96" name="꺾인 연결선 195"/>
          <p:cNvCxnSpPr/>
          <p:nvPr/>
        </p:nvCxnSpPr>
        <p:spPr>
          <a:xfrm rot="16200000" flipH="1">
            <a:off x="7428229" y="6042469"/>
            <a:ext cx="377568" cy="723672"/>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97" name="꺾인 연결선 196"/>
          <p:cNvCxnSpPr/>
          <p:nvPr/>
        </p:nvCxnSpPr>
        <p:spPr>
          <a:xfrm rot="10800000" flipV="1">
            <a:off x="7229003" y="6032086"/>
            <a:ext cx="880992" cy="94392"/>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198" name="TextBox 197"/>
          <p:cNvSpPr txBox="1"/>
          <p:nvPr/>
        </p:nvSpPr>
        <p:spPr>
          <a:xfrm>
            <a:off x="8140508" y="5953989"/>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중앙동</a:t>
            </a:r>
          </a:p>
        </p:txBody>
      </p:sp>
      <p:sp>
        <p:nvSpPr>
          <p:cNvPr id="199" name="TextBox 198"/>
          <p:cNvSpPr txBox="1"/>
          <p:nvPr/>
        </p:nvSpPr>
        <p:spPr>
          <a:xfrm>
            <a:off x="8009201" y="6307929"/>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송산동</a:t>
            </a:r>
          </a:p>
        </p:txBody>
      </p:sp>
      <p:sp>
        <p:nvSpPr>
          <p:cNvPr id="200" name="TextBox 199"/>
          <p:cNvSpPr txBox="1"/>
          <p:nvPr/>
        </p:nvSpPr>
        <p:spPr>
          <a:xfrm>
            <a:off x="8009201" y="6520891"/>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정방동</a:t>
            </a:r>
          </a:p>
        </p:txBody>
      </p:sp>
      <p:sp>
        <p:nvSpPr>
          <p:cNvPr id="201" name="TextBox 200"/>
          <p:cNvSpPr txBox="1"/>
          <p:nvPr/>
        </p:nvSpPr>
        <p:spPr>
          <a:xfrm>
            <a:off x="6038633" y="6520891"/>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천지동</a:t>
            </a:r>
          </a:p>
        </p:txBody>
      </p:sp>
      <p:sp>
        <p:nvSpPr>
          <p:cNvPr id="55" name="자유형 54"/>
          <p:cNvSpPr/>
          <p:nvPr/>
        </p:nvSpPr>
        <p:spPr>
          <a:xfrm>
            <a:off x="579958" y="3467648"/>
            <a:ext cx="734252" cy="469522"/>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300">
              <a:solidFill>
                <a:srgbClr val="000000">
                  <a:lumMod val="50000"/>
                  <a:lumOff val="50000"/>
                </a:srgbClr>
              </a:solidFill>
            </a:endParaRPr>
          </a:p>
        </p:txBody>
      </p:sp>
      <p:sp>
        <p:nvSpPr>
          <p:cNvPr id="69" name="자유형 68"/>
          <p:cNvSpPr/>
          <p:nvPr/>
        </p:nvSpPr>
        <p:spPr>
          <a:xfrm>
            <a:off x="4491579" y="3692419"/>
            <a:ext cx="134863" cy="159837"/>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0" name="자유형 69"/>
          <p:cNvSpPr/>
          <p:nvPr/>
        </p:nvSpPr>
        <p:spPr>
          <a:xfrm>
            <a:off x="2651715" y="5406246"/>
            <a:ext cx="54944" cy="33715"/>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2" name="자유형 71"/>
          <p:cNvSpPr/>
          <p:nvPr/>
        </p:nvSpPr>
        <p:spPr>
          <a:xfrm>
            <a:off x="970810" y="4228124"/>
            <a:ext cx="66183" cy="53708"/>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4" name="자유형 73"/>
          <p:cNvSpPr/>
          <p:nvPr/>
        </p:nvSpPr>
        <p:spPr>
          <a:xfrm>
            <a:off x="525014" y="4862477"/>
            <a:ext cx="88659" cy="76176"/>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5" name="자유형 74"/>
          <p:cNvSpPr/>
          <p:nvPr/>
        </p:nvSpPr>
        <p:spPr>
          <a:xfrm>
            <a:off x="589948" y="3461405"/>
            <a:ext cx="144852" cy="144852"/>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6" name="자유형 75"/>
          <p:cNvSpPr/>
          <p:nvPr/>
        </p:nvSpPr>
        <p:spPr>
          <a:xfrm>
            <a:off x="754780" y="3582531"/>
            <a:ext cx="288456" cy="239756"/>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7" name="자유형 76"/>
          <p:cNvSpPr/>
          <p:nvPr/>
        </p:nvSpPr>
        <p:spPr>
          <a:xfrm>
            <a:off x="645891" y="4200901"/>
            <a:ext cx="907076" cy="70727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8" name="자유형 77"/>
          <p:cNvSpPr/>
          <p:nvPr/>
        </p:nvSpPr>
        <p:spPr>
          <a:xfrm>
            <a:off x="645891" y="4704388"/>
            <a:ext cx="823161" cy="839145"/>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9" name="자유형 78"/>
          <p:cNvSpPr/>
          <p:nvPr/>
        </p:nvSpPr>
        <p:spPr>
          <a:xfrm>
            <a:off x="1365158" y="4548547"/>
            <a:ext cx="655332" cy="75523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0" name="자유형 79"/>
          <p:cNvSpPr/>
          <p:nvPr/>
        </p:nvSpPr>
        <p:spPr>
          <a:xfrm>
            <a:off x="1157370" y="3837272"/>
            <a:ext cx="851133" cy="815169"/>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1" name="자유형 80"/>
          <p:cNvSpPr/>
          <p:nvPr/>
        </p:nvSpPr>
        <p:spPr>
          <a:xfrm>
            <a:off x="1612240" y="3677435"/>
            <a:ext cx="949033" cy="892424"/>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4" name="자유형 83"/>
          <p:cNvSpPr/>
          <p:nvPr/>
        </p:nvSpPr>
        <p:spPr>
          <a:xfrm>
            <a:off x="2549815" y="3424359"/>
            <a:ext cx="777343" cy="1038127"/>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5" name="자유형 84"/>
          <p:cNvSpPr/>
          <p:nvPr/>
        </p:nvSpPr>
        <p:spPr>
          <a:xfrm>
            <a:off x="3223931" y="3347771"/>
            <a:ext cx="1155489" cy="892424"/>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6" name="자유형 85"/>
          <p:cNvSpPr/>
          <p:nvPr/>
        </p:nvSpPr>
        <p:spPr>
          <a:xfrm>
            <a:off x="3581900" y="3702409"/>
            <a:ext cx="971511" cy="1188789"/>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7" name="자유형 86"/>
          <p:cNvSpPr/>
          <p:nvPr/>
        </p:nvSpPr>
        <p:spPr>
          <a:xfrm>
            <a:off x="2887607" y="4102002"/>
            <a:ext cx="1118860" cy="931551"/>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8" name="자유형 87"/>
          <p:cNvSpPr/>
          <p:nvPr/>
        </p:nvSpPr>
        <p:spPr>
          <a:xfrm>
            <a:off x="2547954" y="4381717"/>
            <a:ext cx="1053925" cy="919063"/>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9" name="TextBox 88"/>
          <p:cNvSpPr txBox="1"/>
          <p:nvPr/>
        </p:nvSpPr>
        <p:spPr>
          <a:xfrm>
            <a:off x="662374" y="3430395"/>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추자면</a:t>
            </a:r>
          </a:p>
        </p:txBody>
      </p:sp>
      <p:sp>
        <p:nvSpPr>
          <p:cNvPr id="90" name="TextBox 89"/>
          <p:cNvSpPr txBox="1"/>
          <p:nvPr/>
        </p:nvSpPr>
        <p:spPr>
          <a:xfrm>
            <a:off x="827889" y="4529949"/>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한경면</a:t>
            </a:r>
          </a:p>
        </p:txBody>
      </p:sp>
      <p:sp>
        <p:nvSpPr>
          <p:cNvPr id="91" name="TextBox 90"/>
          <p:cNvSpPr txBox="1"/>
          <p:nvPr/>
        </p:nvSpPr>
        <p:spPr>
          <a:xfrm>
            <a:off x="823044" y="4981300"/>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대정읍</a:t>
            </a:r>
          </a:p>
        </p:txBody>
      </p:sp>
      <p:sp>
        <p:nvSpPr>
          <p:cNvPr id="92" name="TextBox 91"/>
          <p:cNvSpPr txBox="1"/>
          <p:nvPr/>
        </p:nvSpPr>
        <p:spPr>
          <a:xfrm>
            <a:off x="1380659" y="4766618"/>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안덕면</a:t>
            </a:r>
          </a:p>
        </p:txBody>
      </p:sp>
      <p:sp>
        <p:nvSpPr>
          <p:cNvPr id="93" name="TextBox 92"/>
          <p:cNvSpPr txBox="1"/>
          <p:nvPr/>
        </p:nvSpPr>
        <p:spPr>
          <a:xfrm>
            <a:off x="1286257" y="4275724"/>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한림읍</a:t>
            </a:r>
          </a:p>
        </p:txBody>
      </p:sp>
      <p:sp>
        <p:nvSpPr>
          <p:cNvPr id="94" name="TextBox 93"/>
          <p:cNvSpPr txBox="1"/>
          <p:nvPr/>
        </p:nvSpPr>
        <p:spPr>
          <a:xfrm>
            <a:off x="1720508" y="4114578"/>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애월읍</a:t>
            </a:r>
          </a:p>
        </p:txBody>
      </p:sp>
      <p:sp>
        <p:nvSpPr>
          <p:cNvPr id="96" name="TextBox 95"/>
          <p:cNvSpPr txBox="1"/>
          <p:nvPr/>
        </p:nvSpPr>
        <p:spPr>
          <a:xfrm>
            <a:off x="2753700" y="3831371"/>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조천읍</a:t>
            </a:r>
          </a:p>
        </p:txBody>
      </p:sp>
      <p:sp>
        <p:nvSpPr>
          <p:cNvPr id="97" name="TextBox 96"/>
          <p:cNvSpPr txBox="1"/>
          <p:nvPr/>
        </p:nvSpPr>
        <p:spPr>
          <a:xfrm>
            <a:off x="3471159" y="3671549"/>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구좌읍</a:t>
            </a:r>
          </a:p>
        </p:txBody>
      </p:sp>
      <p:sp>
        <p:nvSpPr>
          <p:cNvPr id="98" name="TextBox 97"/>
          <p:cNvSpPr txBox="1"/>
          <p:nvPr/>
        </p:nvSpPr>
        <p:spPr>
          <a:xfrm>
            <a:off x="4450995" y="3577147"/>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우도면</a:t>
            </a:r>
          </a:p>
        </p:txBody>
      </p:sp>
      <p:sp>
        <p:nvSpPr>
          <p:cNvPr id="99" name="TextBox 98"/>
          <p:cNvSpPr txBox="1"/>
          <p:nvPr/>
        </p:nvSpPr>
        <p:spPr>
          <a:xfrm>
            <a:off x="3735486" y="4152339"/>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성산읍</a:t>
            </a:r>
          </a:p>
        </p:txBody>
      </p:sp>
      <p:sp>
        <p:nvSpPr>
          <p:cNvPr id="100" name="TextBox 99"/>
          <p:cNvSpPr txBox="1"/>
          <p:nvPr/>
        </p:nvSpPr>
        <p:spPr>
          <a:xfrm>
            <a:off x="3098785" y="4351247"/>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표선면</a:t>
            </a:r>
          </a:p>
        </p:txBody>
      </p:sp>
      <p:sp>
        <p:nvSpPr>
          <p:cNvPr id="101" name="TextBox 100"/>
          <p:cNvSpPr txBox="1"/>
          <p:nvPr/>
        </p:nvSpPr>
        <p:spPr>
          <a:xfrm>
            <a:off x="2834458" y="4813157"/>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남원읍</a:t>
            </a:r>
          </a:p>
        </p:txBody>
      </p:sp>
      <p:sp>
        <p:nvSpPr>
          <p:cNvPr id="83" name="자유형 82"/>
          <p:cNvSpPr/>
          <p:nvPr/>
        </p:nvSpPr>
        <p:spPr>
          <a:xfrm>
            <a:off x="1738777" y="4442488"/>
            <a:ext cx="1098880" cy="916566"/>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1" name="자유형 70"/>
          <p:cNvSpPr/>
          <p:nvPr/>
        </p:nvSpPr>
        <p:spPr>
          <a:xfrm>
            <a:off x="2529339" y="5464164"/>
            <a:ext cx="61188" cy="43230"/>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102" name="TextBox 101"/>
          <p:cNvSpPr txBox="1"/>
          <p:nvPr/>
        </p:nvSpPr>
        <p:spPr>
          <a:xfrm>
            <a:off x="2020490" y="4829266"/>
            <a:ext cx="661598" cy="4113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서귀포시</a:t>
            </a:r>
            <a:endParaRPr lang="en-US" altLang="ko-KR" sz="1300">
              <a:solidFill>
                <a:srgbClr val="000000">
                  <a:lumMod val="50000"/>
                  <a:lumOff val="50000"/>
                </a:srgbClr>
              </a:solidFill>
              <a:latin typeface="NOVA Bold"/>
              <a:ea typeface="NOVA Bold"/>
              <a:cs typeface="Arial Narrow" pitchFamily="34" charset="0"/>
            </a:endParaRPr>
          </a:p>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도심</a:t>
            </a:r>
          </a:p>
        </p:txBody>
      </p:sp>
      <p:sp>
        <p:nvSpPr>
          <p:cNvPr id="82" name="자유형 81"/>
          <p:cNvSpPr/>
          <p:nvPr/>
        </p:nvSpPr>
        <p:spPr>
          <a:xfrm>
            <a:off x="2105071" y="3514268"/>
            <a:ext cx="729257" cy="930718"/>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95" name="TextBox 94"/>
          <p:cNvSpPr txBox="1"/>
          <p:nvPr/>
        </p:nvSpPr>
        <p:spPr>
          <a:xfrm>
            <a:off x="2272033" y="3870754"/>
            <a:ext cx="552770" cy="4113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제주시</a:t>
            </a:r>
            <a:endParaRPr lang="en-US" altLang="ko-KR" sz="1300">
              <a:solidFill>
                <a:srgbClr val="000000">
                  <a:lumMod val="50000"/>
                  <a:lumOff val="50000"/>
                </a:srgbClr>
              </a:solidFill>
              <a:latin typeface="NOVA Bold"/>
              <a:ea typeface="NOVA Bold"/>
              <a:cs typeface="Arial Narrow" pitchFamily="34" charset="0"/>
            </a:endParaRPr>
          </a:p>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도심</a:t>
            </a:r>
          </a:p>
        </p:txBody>
      </p:sp>
      <p:sp>
        <p:nvSpPr>
          <p:cNvPr id="15" name="자유형 14"/>
          <p:cNvSpPr/>
          <p:nvPr/>
        </p:nvSpPr>
        <p:spPr>
          <a:xfrm>
            <a:off x="403743" y="3703893"/>
            <a:ext cx="4338437" cy="1345568"/>
          </a:xfrm>
          <a:custGeom>
            <a:avLst/>
            <a:gdLst>
              <a:gd name="connsiteX0" fmla="*/ 0 w 4963886"/>
              <a:gd name="connsiteY0" fmla="*/ 1539551 h 1539551"/>
              <a:gd name="connsiteX1" fmla="*/ 279918 w 4963886"/>
              <a:gd name="connsiteY1" fmla="*/ 1390261 h 1539551"/>
              <a:gd name="connsiteX2" fmla="*/ 606490 w 4963886"/>
              <a:gd name="connsiteY2" fmla="*/ 1362269 h 1539551"/>
              <a:gd name="connsiteX3" fmla="*/ 821094 w 4963886"/>
              <a:gd name="connsiteY3" fmla="*/ 1184987 h 1539551"/>
              <a:gd name="connsiteX4" fmla="*/ 979714 w 4963886"/>
              <a:gd name="connsiteY4" fmla="*/ 1259632 h 1539551"/>
              <a:gd name="connsiteX5" fmla="*/ 1315616 w 4963886"/>
              <a:gd name="connsiteY5" fmla="*/ 1063689 h 1539551"/>
              <a:gd name="connsiteX6" fmla="*/ 1408922 w 4963886"/>
              <a:gd name="connsiteY6" fmla="*/ 1082351 h 1539551"/>
              <a:gd name="connsiteX7" fmla="*/ 1492898 w 4963886"/>
              <a:gd name="connsiteY7" fmla="*/ 998375 h 1539551"/>
              <a:gd name="connsiteX8" fmla="*/ 1576873 w 4963886"/>
              <a:gd name="connsiteY8" fmla="*/ 979714 h 1539551"/>
              <a:gd name="connsiteX9" fmla="*/ 1847461 w 4963886"/>
              <a:gd name="connsiteY9" fmla="*/ 1017036 h 1539551"/>
              <a:gd name="connsiteX10" fmla="*/ 2118049 w 4963886"/>
              <a:gd name="connsiteY10" fmla="*/ 877077 h 1539551"/>
              <a:gd name="connsiteX11" fmla="*/ 2444620 w 4963886"/>
              <a:gd name="connsiteY11" fmla="*/ 858416 h 1539551"/>
              <a:gd name="connsiteX12" fmla="*/ 2836506 w 4963886"/>
              <a:gd name="connsiteY12" fmla="*/ 783771 h 1539551"/>
              <a:gd name="connsiteX13" fmla="*/ 3041780 w 4963886"/>
              <a:gd name="connsiteY13" fmla="*/ 597159 h 1539551"/>
              <a:gd name="connsiteX14" fmla="*/ 3247053 w 4963886"/>
              <a:gd name="connsiteY14" fmla="*/ 606489 h 1539551"/>
              <a:gd name="connsiteX15" fmla="*/ 3368351 w 4963886"/>
              <a:gd name="connsiteY15" fmla="*/ 615820 h 1539551"/>
              <a:gd name="connsiteX16" fmla="*/ 3526971 w 4963886"/>
              <a:gd name="connsiteY16" fmla="*/ 466530 h 1539551"/>
              <a:gd name="connsiteX17" fmla="*/ 3694922 w 4963886"/>
              <a:gd name="connsiteY17" fmla="*/ 466530 h 1539551"/>
              <a:gd name="connsiteX18" fmla="*/ 3722914 w 4963886"/>
              <a:gd name="connsiteY18" fmla="*/ 373224 h 1539551"/>
              <a:gd name="connsiteX19" fmla="*/ 4282751 w 4963886"/>
              <a:gd name="connsiteY19" fmla="*/ 205273 h 1539551"/>
              <a:gd name="connsiteX20" fmla="*/ 4553339 w 4963886"/>
              <a:gd name="connsiteY20" fmla="*/ 0 h 1539551"/>
              <a:gd name="connsiteX21" fmla="*/ 4609322 w 4963886"/>
              <a:gd name="connsiteY21" fmla="*/ 65314 h 1539551"/>
              <a:gd name="connsiteX22" fmla="*/ 4665306 w 4963886"/>
              <a:gd name="connsiteY22" fmla="*/ 205273 h 1539551"/>
              <a:gd name="connsiteX23" fmla="*/ 4963886 w 4963886"/>
              <a:gd name="connsiteY23" fmla="*/ 261257 h 1539551"/>
              <a:gd name="connsiteX0dup0" fmla="*/ 0 w 4963886"/>
              <a:gd name="connsiteY0dup0" fmla="*/ 1539551 h 1539551"/>
              <a:gd name="connsiteX1dup0" fmla="*/ 279918 w 4963886"/>
              <a:gd name="connsiteY1dup0" fmla="*/ 1390261 h 1539551"/>
              <a:gd name="connsiteX2dup0" fmla="*/ 606490 w 4963886"/>
              <a:gd name="connsiteY2dup0" fmla="*/ 1362269 h 1539551"/>
              <a:gd name="connsiteX3dup0" fmla="*/ 821094 w 4963886"/>
              <a:gd name="connsiteY3dup0" fmla="*/ 1184987 h 1539551"/>
              <a:gd name="connsiteX4dup0" fmla="*/ 979714 w 4963886"/>
              <a:gd name="connsiteY4dup0" fmla="*/ 1259632 h 1539551"/>
              <a:gd name="connsiteX5dup0" fmla="*/ 1315616 w 4963886"/>
              <a:gd name="connsiteY5dup0" fmla="*/ 1063689 h 1539551"/>
              <a:gd name="connsiteX6dup0" fmla="*/ 1408922 w 4963886"/>
              <a:gd name="connsiteY6dup0" fmla="*/ 1082351 h 1539551"/>
              <a:gd name="connsiteX7dup0" fmla="*/ 1492898 w 4963886"/>
              <a:gd name="connsiteY7dup0" fmla="*/ 998375 h 1539551"/>
              <a:gd name="connsiteX8dup0" fmla="*/ 1576873 w 4963886"/>
              <a:gd name="connsiteY8dup0" fmla="*/ 979714 h 1539551"/>
              <a:gd name="connsiteX9dup0" fmla="*/ 1847461 w 4963886"/>
              <a:gd name="connsiteY9dup0" fmla="*/ 1017036 h 1539551"/>
              <a:gd name="connsiteX10dup0" fmla="*/ 2118049 w 4963886"/>
              <a:gd name="connsiteY10dup0" fmla="*/ 877077 h 1539551"/>
              <a:gd name="connsiteX11dup0" fmla="*/ 2444620 w 4963886"/>
              <a:gd name="connsiteY11dup0" fmla="*/ 858416 h 1539551"/>
              <a:gd name="connsiteX12dup0" fmla="*/ 2836506 w 4963886"/>
              <a:gd name="connsiteY12dup0" fmla="*/ 783771 h 1539551"/>
              <a:gd name="connsiteX13dup0" fmla="*/ 3089005 w 4963886"/>
              <a:gd name="connsiteY13dup0" fmla="*/ 608057 h 1539551"/>
              <a:gd name="connsiteX14dup0" fmla="*/ 3247053 w 4963886"/>
              <a:gd name="connsiteY14dup0" fmla="*/ 606489 h 1539551"/>
              <a:gd name="connsiteX15dup0" fmla="*/ 3368351 w 4963886"/>
              <a:gd name="connsiteY15dup0" fmla="*/ 615820 h 1539551"/>
              <a:gd name="connsiteX16dup0" fmla="*/ 3526971 w 4963886"/>
              <a:gd name="connsiteY16dup0" fmla="*/ 466530 h 1539551"/>
              <a:gd name="connsiteX17dup0" fmla="*/ 3694922 w 4963886"/>
              <a:gd name="connsiteY17dup0" fmla="*/ 466530 h 1539551"/>
              <a:gd name="connsiteX18dup0" fmla="*/ 3722914 w 4963886"/>
              <a:gd name="connsiteY18dup0" fmla="*/ 373224 h 1539551"/>
              <a:gd name="connsiteX19dup0" fmla="*/ 4282751 w 4963886"/>
              <a:gd name="connsiteY19dup0" fmla="*/ 205273 h 1539551"/>
              <a:gd name="connsiteX20dup0" fmla="*/ 4553339 w 4963886"/>
              <a:gd name="connsiteY20dup0" fmla="*/ 0 h 1539551"/>
              <a:gd name="connsiteX21dup0" fmla="*/ 4609322 w 4963886"/>
              <a:gd name="connsiteY21dup0" fmla="*/ 65314 h 1539551"/>
              <a:gd name="connsiteX22dup0" fmla="*/ 4665306 w 4963886"/>
              <a:gd name="connsiteY22dup0" fmla="*/ 205273 h 1539551"/>
              <a:gd name="connsiteX23dup0" fmla="*/ 4963886 w 4963886"/>
              <a:gd name="connsiteY23dup0" fmla="*/ 261257 h 1539551"/>
              <a:gd name="connsiteX0dup0dup1" fmla="*/ 0 w 4963886"/>
              <a:gd name="connsiteY0dup0dup1" fmla="*/ 1539551 h 1539551"/>
              <a:gd name="connsiteX1dup0dup1" fmla="*/ 279918 w 4963886"/>
              <a:gd name="connsiteY1dup0dup1" fmla="*/ 1390261 h 1539551"/>
              <a:gd name="connsiteX2dup0dup1" fmla="*/ 606490 w 4963886"/>
              <a:gd name="connsiteY2dup0dup1" fmla="*/ 1362269 h 1539551"/>
              <a:gd name="connsiteX3dup0dup1" fmla="*/ 821094 w 4963886"/>
              <a:gd name="connsiteY3dup0dup1" fmla="*/ 1184987 h 1539551"/>
              <a:gd name="connsiteX4dup0dup1" fmla="*/ 979714 w 4963886"/>
              <a:gd name="connsiteY4dup0dup1" fmla="*/ 1259632 h 1539551"/>
              <a:gd name="connsiteX5dup0dup1" fmla="*/ 1315616 w 4963886"/>
              <a:gd name="connsiteY5dup0dup1" fmla="*/ 1063689 h 1539551"/>
              <a:gd name="connsiteX6dup0dup1" fmla="*/ 1408922 w 4963886"/>
              <a:gd name="connsiteY6dup0dup1" fmla="*/ 1082351 h 1539551"/>
              <a:gd name="connsiteX7dup0dup1" fmla="*/ 1492898 w 4963886"/>
              <a:gd name="connsiteY7dup0dup1" fmla="*/ 998375 h 1539551"/>
              <a:gd name="connsiteX8dup0dup1" fmla="*/ 1576873 w 4963886"/>
              <a:gd name="connsiteY8dup0dup1" fmla="*/ 979714 h 1539551"/>
              <a:gd name="connsiteX9dup0dup1" fmla="*/ 1847461 w 4963886"/>
              <a:gd name="connsiteY9dup0dup1" fmla="*/ 1017036 h 1539551"/>
              <a:gd name="connsiteX10dup0dup1" fmla="*/ 2118049 w 4963886"/>
              <a:gd name="connsiteY10dup0dup1" fmla="*/ 877077 h 1539551"/>
              <a:gd name="connsiteX11dup0dup1" fmla="*/ 2444620 w 4963886"/>
              <a:gd name="connsiteY11dup0dup1" fmla="*/ 858416 h 1539551"/>
              <a:gd name="connsiteX12dup0dup1" fmla="*/ 2836506 w 4963886"/>
              <a:gd name="connsiteY12dup0dup1" fmla="*/ 783771 h 1539551"/>
              <a:gd name="connsiteX13dup0dup1" fmla="*/ 2935273 w 4963886"/>
              <a:gd name="connsiteY13dup0dup1" fmla="*/ 688108 h 1539551"/>
              <a:gd name="connsiteX14dup0dup1" fmla="*/ 3089005 w 4963886"/>
              <a:gd name="connsiteY14dup0dup1" fmla="*/ 608057 h 1539551"/>
              <a:gd name="connsiteX15dup0dup1" fmla="*/ 3247053 w 4963886"/>
              <a:gd name="connsiteY15dup0dup1" fmla="*/ 606489 h 1539551"/>
              <a:gd name="connsiteX16dup0dup1" fmla="*/ 3368351 w 4963886"/>
              <a:gd name="connsiteY16dup0dup1" fmla="*/ 615820 h 1539551"/>
              <a:gd name="connsiteX17dup0dup1" fmla="*/ 3526971 w 4963886"/>
              <a:gd name="connsiteY17dup0dup1" fmla="*/ 466530 h 1539551"/>
              <a:gd name="connsiteX18dup0dup1" fmla="*/ 3694922 w 4963886"/>
              <a:gd name="connsiteY18dup0dup1" fmla="*/ 466530 h 1539551"/>
              <a:gd name="connsiteX19dup0dup1" fmla="*/ 3722914 w 4963886"/>
              <a:gd name="connsiteY19dup0dup1" fmla="*/ 373224 h 1539551"/>
              <a:gd name="connsiteX20dup0dup1" fmla="*/ 4282751 w 4963886"/>
              <a:gd name="connsiteY20dup0dup1" fmla="*/ 205273 h 1539551"/>
              <a:gd name="connsiteX21dup0dup1" fmla="*/ 4553339 w 4963886"/>
              <a:gd name="connsiteY21dup0dup1" fmla="*/ 0 h 1539551"/>
              <a:gd name="connsiteX22dup0dup1" fmla="*/ 4609322 w 4963886"/>
              <a:gd name="connsiteY22dup0dup1" fmla="*/ 65314 h 1539551"/>
              <a:gd name="connsiteX23dup0dup1" fmla="*/ 4665306 w 4963886"/>
              <a:gd name="connsiteY23dup0dup1" fmla="*/ 205273 h 1539551"/>
              <a:gd name="connsiteX24" fmla="*/ 4963886 w 4963886"/>
              <a:gd name="connsiteY24" fmla="*/ 261257 h 1539551"/>
              <a:gd name="connsiteX0dup0dup1dup2" fmla="*/ 0 w 4963886"/>
              <a:gd name="connsiteY0dup0dup1dup2" fmla="*/ 1539551 h 1539551"/>
              <a:gd name="connsiteX1dup0dup1dup2" fmla="*/ 279918 w 4963886"/>
              <a:gd name="connsiteY1dup0dup1dup2" fmla="*/ 1390261 h 1539551"/>
              <a:gd name="connsiteX2dup0dup1dup2" fmla="*/ 606490 w 4963886"/>
              <a:gd name="connsiteY2dup0dup1dup2" fmla="*/ 1362269 h 1539551"/>
              <a:gd name="connsiteX3dup0dup1dup2" fmla="*/ 821094 w 4963886"/>
              <a:gd name="connsiteY3dup0dup1dup2" fmla="*/ 1184987 h 1539551"/>
              <a:gd name="connsiteX4dup0dup1dup2" fmla="*/ 979714 w 4963886"/>
              <a:gd name="connsiteY4dup0dup1dup2" fmla="*/ 1259632 h 1539551"/>
              <a:gd name="connsiteX5dup0dup1dup2" fmla="*/ 1315616 w 4963886"/>
              <a:gd name="connsiteY5dup0dup1dup2" fmla="*/ 1063689 h 1539551"/>
              <a:gd name="connsiteX6dup0dup1dup2" fmla="*/ 1408922 w 4963886"/>
              <a:gd name="connsiteY6dup0dup1dup2" fmla="*/ 1082351 h 1539551"/>
              <a:gd name="connsiteX7dup0dup1dup2" fmla="*/ 1492898 w 4963886"/>
              <a:gd name="connsiteY7dup0dup1dup2" fmla="*/ 998375 h 1539551"/>
              <a:gd name="connsiteX8dup0dup1dup2" fmla="*/ 1576873 w 4963886"/>
              <a:gd name="connsiteY8dup0dup1dup2" fmla="*/ 979714 h 1539551"/>
              <a:gd name="connsiteX9dup0dup1dup2" fmla="*/ 1847461 w 4963886"/>
              <a:gd name="connsiteY9dup0dup1dup2" fmla="*/ 1017036 h 1539551"/>
              <a:gd name="connsiteX10dup0dup1dup2" fmla="*/ 2118049 w 4963886"/>
              <a:gd name="connsiteY10dup0dup1dup2" fmla="*/ 877077 h 1539551"/>
              <a:gd name="connsiteX11dup0dup1dup2" fmla="*/ 2444620 w 4963886"/>
              <a:gd name="connsiteY11dup0dup1dup2" fmla="*/ 858416 h 1539551"/>
              <a:gd name="connsiteX12dup0dup1dup2" fmla="*/ 2836506 w 4963886"/>
              <a:gd name="connsiteY12dup0dup1dup2" fmla="*/ 783771 h 1539551"/>
              <a:gd name="connsiteX13dup0dup1dup2" fmla="*/ 2935273 w 4963886"/>
              <a:gd name="connsiteY13dup0dup1dup2" fmla="*/ 688108 h 1539551"/>
              <a:gd name="connsiteX14dup0dup1dup2" fmla="*/ 3089005 w 4963886"/>
              <a:gd name="connsiteY14dup0dup1dup2" fmla="*/ 608057 h 1539551"/>
              <a:gd name="connsiteX15dup0dup1dup2" fmla="*/ 3247053 w 4963886"/>
              <a:gd name="connsiteY15dup0dup1dup2" fmla="*/ 606489 h 1539551"/>
              <a:gd name="connsiteX16dup0dup1dup2" fmla="*/ 3368351 w 4963886"/>
              <a:gd name="connsiteY16dup0dup1dup2" fmla="*/ 615820 h 1539551"/>
              <a:gd name="connsiteX17dup0dup1dup2" fmla="*/ 3526971 w 4963886"/>
              <a:gd name="connsiteY17dup0dup1dup2" fmla="*/ 466530 h 1539551"/>
              <a:gd name="connsiteX18dup0dup1dup2" fmla="*/ 3680391 w 4963886"/>
              <a:gd name="connsiteY18dup0dup1dup2" fmla="*/ 451999 h 1539551"/>
              <a:gd name="connsiteX19dup0dup1dup2" fmla="*/ 3722914 w 4963886"/>
              <a:gd name="connsiteY19dup0dup1dup2" fmla="*/ 373224 h 1539551"/>
              <a:gd name="connsiteX20dup0dup1dup2" fmla="*/ 4282751 w 4963886"/>
              <a:gd name="connsiteY20dup0dup1dup2" fmla="*/ 205273 h 1539551"/>
              <a:gd name="connsiteX21dup0dup1dup2" fmla="*/ 4553339 w 4963886"/>
              <a:gd name="connsiteY21dup0dup1dup2" fmla="*/ 0 h 1539551"/>
              <a:gd name="connsiteX22dup0dup1dup2" fmla="*/ 4609322 w 4963886"/>
              <a:gd name="connsiteY22dup0dup1dup2" fmla="*/ 65314 h 1539551"/>
              <a:gd name="connsiteX23dup0dup1dup2" fmla="*/ 4665306 w 4963886"/>
              <a:gd name="connsiteY23dup0dup1dup2" fmla="*/ 205273 h 1539551"/>
              <a:gd name="connsiteX24dup0" fmla="*/ 4963886 w 4963886"/>
              <a:gd name="connsiteY24dup0" fmla="*/ 261257 h 1539551"/>
              <a:gd name="connsiteX0dup0dup1dup2dup3" fmla="*/ 0 w 4963886"/>
              <a:gd name="connsiteY0dup0dup1dup2dup3" fmla="*/ 1539551 h 1539551"/>
              <a:gd name="connsiteX1dup0dup1dup2dup3" fmla="*/ 279918 w 4963886"/>
              <a:gd name="connsiteY1dup0dup1dup2dup3" fmla="*/ 1390261 h 1539551"/>
              <a:gd name="connsiteX2dup0dup1dup2dup3" fmla="*/ 606490 w 4963886"/>
              <a:gd name="connsiteY2dup0dup1dup2dup3" fmla="*/ 1362269 h 1539551"/>
              <a:gd name="connsiteX3dup0dup1dup2dup3" fmla="*/ 821094 w 4963886"/>
              <a:gd name="connsiteY3dup0dup1dup2dup3" fmla="*/ 1184987 h 1539551"/>
              <a:gd name="connsiteX4dup0dup1dup2dup3" fmla="*/ 979714 w 4963886"/>
              <a:gd name="connsiteY4dup0dup1dup2dup3" fmla="*/ 1259632 h 1539551"/>
              <a:gd name="connsiteX5dup0dup1dup2dup3" fmla="*/ 1315616 w 4963886"/>
              <a:gd name="connsiteY5dup0dup1dup2dup3" fmla="*/ 1063689 h 1539551"/>
              <a:gd name="connsiteX6dup0dup1dup2dup3" fmla="*/ 1408922 w 4963886"/>
              <a:gd name="connsiteY6dup0dup1dup2dup3" fmla="*/ 1082351 h 1539551"/>
              <a:gd name="connsiteX7dup0dup1dup2dup3" fmla="*/ 1492898 w 4963886"/>
              <a:gd name="connsiteY7dup0dup1dup2dup3" fmla="*/ 998375 h 1539551"/>
              <a:gd name="connsiteX8dup0dup1dup2dup3" fmla="*/ 1576873 w 4963886"/>
              <a:gd name="connsiteY8dup0dup1dup2dup3" fmla="*/ 979714 h 1539551"/>
              <a:gd name="connsiteX9dup0dup1dup2dup3" fmla="*/ 1847461 w 4963886"/>
              <a:gd name="connsiteY9dup0dup1dup2dup3" fmla="*/ 1017036 h 1539551"/>
              <a:gd name="connsiteX10dup0dup1dup2dup3" fmla="*/ 2118049 w 4963886"/>
              <a:gd name="connsiteY10dup0dup1dup2dup3" fmla="*/ 877077 h 1539551"/>
              <a:gd name="connsiteX11dup0dup1dup2dup3" fmla="*/ 2444620 w 4963886"/>
              <a:gd name="connsiteY11dup0dup1dup2dup3" fmla="*/ 858416 h 1539551"/>
              <a:gd name="connsiteX12dup0dup1dup2dup3" fmla="*/ 2836506 w 4963886"/>
              <a:gd name="connsiteY12dup0dup1dup2dup3" fmla="*/ 783771 h 1539551"/>
              <a:gd name="connsiteX13dup0dup1dup2dup3" fmla="*/ 2935273 w 4963886"/>
              <a:gd name="connsiteY13dup0dup1dup2dup3" fmla="*/ 688108 h 1539551"/>
              <a:gd name="connsiteX14dup0dup1dup2dup3" fmla="*/ 3089005 w 4963886"/>
              <a:gd name="connsiteY14dup0dup1dup2dup3" fmla="*/ 608057 h 1539551"/>
              <a:gd name="connsiteX15dup0dup1dup2dup3" fmla="*/ 3247053 w 4963886"/>
              <a:gd name="connsiteY15dup0dup1dup2dup3" fmla="*/ 606489 h 1539551"/>
              <a:gd name="connsiteX16dup0dup1dup2dup3" fmla="*/ 3368351 w 4963886"/>
              <a:gd name="connsiteY16dup0dup1dup2dup3" fmla="*/ 615820 h 1539551"/>
              <a:gd name="connsiteX17dup0dup1dup2dup3" fmla="*/ 3526971 w 4963886"/>
              <a:gd name="connsiteY17dup0dup1dup2dup3" fmla="*/ 466530 h 1539551"/>
              <a:gd name="connsiteX18dup0dup1dup2dup3" fmla="*/ 3680391 w 4963886"/>
              <a:gd name="connsiteY18dup0dup1dup2dup3" fmla="*/ 451999 h 1539551"/>
              <a:gd name="connsiteX19dup0dup1dup2dup3" fmla="*/ 3726546 w 4963886"/>
              <a:gd name="connsiteY19dup0dup1dup2dup3" fmla="*/ 358693 h 1539551"/>
              <a:gd name="connsiteX20dup0dup1dup2dup3" fmla="*/ 4282751 w 4963886"/>
              <a:gd name="connsiteY20dup0dup1dup2dup3" fmla="*/ 205273 h 1539551"/>
              <a:gd name="connsiteX21dup0dup1dup2dup3" fmla="*/ 4553339 w 4963886"/>
              <a:gd name="connsiteY21dup0dup1dup2dup3" fmla="*/ 0 h 1539551"/>
              <a:gd name="connsiteX22dup0dup1dup2dup3" fmla="*/ 4609322 w 4963886"/>
              <a:gd name="connsiteY22dup0dup1dup2dup3" fmla="*/ 65314 h 1539551"/>
              <a:gd name="connsiteX23dup0dup1dup2dup3" fmla="*/ 4665306 w 4963886"/>
              <a:gd name="connsiteY23dup0dup1dup2dup3" fmla="*/ 205273 h 1539551"/>
              <a:gd name="connsiteX24dup0dup1" fmla="*/ 4963886 w 4963886"/>
              <a:gd name="connsiteY24dup0dup1" fmla="*/ 261257 h 1539551"/>
              <a:gd name="connsiteX0dup0dup1dup2dup3dup4" fmla="*/ 0 w 4963886"/>
              <a:gd name="connsiteY0dup0dup1dup2dup3dup4" fmla="*/ 1539551 h 1539551"/>
              <a:gd name="connsiteX1dup0dup1dup2dup3dup4" fmla="*/ 279918 w 4963886"/>
              <a:gd name="connsiteY1dup0dup1dup2dup3dup4" fmla="*/ 1390261 h 1539551"/>
              <a:gd name="connsiteX2dup0dup1dup2dup3dup4" fmla="*/ 588326 w 4963886"/>
              <a:gd name="connsiteY2dup0dup1dup2dup3dup4" fmla="*/ 1347739 h 1539551"/>
              <a:gd name="connsiteX3dup0dup1dup2dup3dup4" fmla="*/ 821094 w 4963886"/>
              <a:gd name="connsiteY3dup0dup1dup2dup3dup4" fmla="*/ 1184987 h 1539551"/>
              <a:gd name="connsiteX4dup0dup1dup2dup3dup4" fmla="*/ 979714 w 4963886"/>
              <a:gd name="connsiteY4dup0dup1dup2dup3dup4" fmla="*/ 1259632 h 1539551"/>
              <a:gd name="connsiteX5dup0dup1dup2dup3dup4" fmla="*/ 1315616 w 4963886"/>
              <a:gd name="connsiteY5dup0dup1dup2dup3dup4" fmla="*/ 1063689 h 1539551"/>
              <a:gd name="connsiteX6dup0dup1dup2dup3dup4" fmla="*/ 1408922 w 4963886"/>
              <a:gd name="connsiteY6dup0dup1dup2dup3dup4" fmla="*/ 1082351 h 1539551"/>
              <a:gd name="connsiteX7dup0dup1dup2dup3dup4" fmla="*/ 1492898 w 4963886"/>
              <a:gd name="connsiteY7dup0dup1dup2dup3dup4" fmla="*/ 998375 h 1539551"/>
              <a:gd name="connsiteX8dup0dup1dup2dup3dup4" fmla="*/ 1576873 w 4963886"/>
              <a:gd name="connsiteY8dup0dup1dup2dup3dup4" fmla="*/ 979714 h 1539551"/>
              <a:gd name="connsiteX9dup0dup1dup2dup3dup4" fmla="*/ 1847461 w 4963886"/>
              <a:gd name="connsiteY9dup0dup1dup2dup3dup4" fmla="*/ 1017036 h 1539551"/>
              <a:gd name="connsiteX10dup0dup1dup2dup3dup4" fmla="*/ 2118049 w 4963886"/>
              <a:gd name="connsiteY10dup0dup1dup2dup3dup4" fmla="*/ 877077 h 1539551"/>
              <a:gd name="connsiteX11dup0dup1dup2dup3dup4" fmla="*/ 2444620 w 4963886"/>
              <a:gd name="connsiteY11dup0dup1dup2dup3dup4" fmla="*/ 858416 h 1539551"/>
              <a:gd name="connsiteX12dup0dup1dup2dup3dup4" fmla="*/ 2836506 w 4963886"/>
              <a:gd name="connsiteY12dup0dup1dup2dup3dup4" fmla="*/ 783771 h 1539551"/>
              <a:gd name="connsiteX13dup0dup1dup2dup3dup4" fmla="*/ 2935273 w 4963886"/>
              <a:gd name="connsiteY13dup0dup1dup2dup3dup4" fmla="*/ 688108 h 1539551"/>
              <a:gd name="connsiteX14dup0dup1dup2dup3dup4" fmla="*/ 3089005 w 4963886"/>
              <a:gd name="connsiteY14dup0dup1dup2dup3dup4" fmla="*/ 608057 h 1539551"/>
              <a:gd name="connsiteX15dup0dup1dup2dup3dup4" fmla="*/ 3247053 w 4963886"/>
              <a:gd name="connsiteY15dup0dup1dup2dup3dup4" fmla="*/ 606489 h 1539551"/>
              <a:gd name="connsiteX16dup0dup1dup2dup3dup4" fmla="*/ 3368351 w 4963886"/>
              <a:gd name="connsiteY16dup0dup1dup2dup3dup4" fmla="*/ 615820 h 1539551"/>
              <a:gd name="connsiteX17dup0dup1dup2dup3dup4" fmla="*/ 3526971 w 4963886"/>
              <a:gd name="connsiteY17dup0dup1dup2dup3dup4" fmla="*/ 466530 h 1539551"/>
              <a:gd name="connsiteX18dup0dup1dup2dup3dup4" fmla="*/ 3680391 w 4963886"/>
              <a:gd name="connsiteY18dup0dup1dup2dup3dup4" fmla="*/ 451999 h 1539551"/>
              <a:gd name="connsiteX19dup0dup1dup2dup3dup4" fmla="*/ 3726546 w 4963886"/>
              <a:gd name="connsiteY19dup0dup1dup2dup3dup4" fmla="*/ 358693 h 1539551"/>
              <a:gd name="connsiteX20dup0dup1dup2dup3dup4" fmla="*/ 4282751 w 4963886"/>
              <a:gd name="connsiteY20dup0dup1dup2dup3dup4" fmla="*/ 205273 h 1539551"/>
              <a:gd name="connsiteX21dup0dup1dup2dup3dup4" fmla="*/ 4553339 w 4963886"/>
              <a:gd name="connsiteY21dup0dup1dup2dup3dup4" fmla="*/ 0 h 1539551"/>
              <a:gd name="connsiteX22dup0dup1dup2dup3dup4" fmla="*/ 4609322 w 4963886"/>
              <a:gd name="connsiteY22dup0dup1dup2dup3dup4" fmla="*/ 65314 h 1539551"/>
              <a:gd name="connsiteX23dup0dup1dup2dup3dup4" fmla="*/ 4665306 w 4963886"/>
              <a:gd name="connsiteY23dup0dup1dup2dup3dup4" fmla="*/ 205273 h 1539551"/>
              <a:gd name="connsiteX24dup0dup1dup2" fmla="*/ 4963886 w 4963886"/>
              <a:gd name="connsiteY24dup0dup1dup2" fmla="*/ 261257 h 1539551"/>
              <a:gd name="connsiteX0dup0dup1dup2dup3dup4dup5" fmla="*/ 0 w 4963886"/>
              <a:gd name="connsiteY0dup0dup1dup2dup3dup4dup5" fmla="*/ 1539551 h 1539551"/>
              <a:gd name="connsiteX1dup0dup1dup2dup3dup4dup5" fmla="*/ 279918 w 4963886"/>
              <a:gd name="connsiteY1dup0dup1dup2dup3dup4dup5" fmla="*/ 1390261 h 1539551"/>
              <a:gd name="connsiteX2dup0dup1dup2dup3dup4dup5" fmla="*/ 588326 w 4963886"/>
              <a:gd name="connsiteY2dup0dup1dup2dup3dup4dup5" fmla="*/ 1347739 h 1539551"/>
              <a:gd name="connsiteX3dup0dup1dup2dup3dup4dup5" fmla="*/ 821094 w 4963886"/>
              <a:gd name="connsiteY3dup0dup1dup2dup3dup4dup5" fmla="*/ 1184987 h 1539551"/>
              <a:gd name="connsiteX4dup0dup1dup2dup3dup4dup5" fmla="*/ 979714 w 4963886"/>
              <a:gd name="connsiteY4dup0dup1dup2dup3dup4dup5" fmla="*/ 1259632 h 1539551"/>
              <a:gd name="connsiteX5dup0dup1dup2dup3dup4dup5" fmla="*/ 1315616 w 4963886"/>
              <a:gd name="connsiteY5dup0dup1dup2dup3dup4dup5" fmla="*/ 1063689 h 1539551"/>
              <a:gd name="connsiteX6dup0dup1dup2dup3dup4dup5" fmla="*/ 1408922 w 4963886"/>
              <a:gd name="connsiteY6dup0dup1dup2dup3dup4dup5" fmla="*/ 1082351 h 1539551"/>
              <a:gd name="connsiteX7dup0dup1dup2dup3dup4dup5" fmla="*/ 1492898 w 4963886"/>
              <a:gd name="connsiteY7dup0dup1dup2dup3dup4dup5" fmla="*/ 998375 h 1539551"/>
              <a:gd name="connsiteX8dup0dup1dup2dup3dup4dup5" fmla="*/ 1576873 w 4963886"/>
              <a:gd name="connsiteY8dup0dup1dup2dup3dup4dup5" fmla="*/ 979714 h 1539551"/>
              <a:gd name="connsiteX9dup0dup1dup2dup3dup4dup5" fmla="*/ 1847461 w 4963886"/>
              <a:gd name="connsiteY9dup0dup1dup2dup3dup4dup5" fmla="*/ 1017036 h 1539551"/>
              <a:gd name="connsiteX10dup0dup1dup2dup3dup4dup5" fmla="*/ 2118049 w 4963886"/>
              <a:gd name="connsiteY10dup0dup1dup2dup3dup4dup5" fmla="*/ 877077 h 1539551"/>
              <a:gd name="connsiteX11dup0dup1dup2dup3dup4dup5" fmla="*/ 2444620 w 4963886"/>
              <a:gd name="connsiteY11dup0dup1dup2dup3dup4dup5" fmla="*/ 858416 h 1539551"/>
              <a:gd name="connsiteX12dup0dup1dup2dup3dup4dup5" fmla="*/ 2836506 w 4963886"/>
              <a:gd name="connsiteY12dup0dup1dup2dup3dup4dup5" fmla="*/ 783771 h 1539551"/>
              <a:gd name="connsiteX13dup0dup1dup2dup3dup4dup5" fmla="*/ 2935273 w 4963886"/>
              <a:gd name="connsiteY13dup0dup1dup2dup3dup4dup5" fmla="*/ 688108 h 1539551"/>
              <a:gd name="connsiteX14dup0dup1dup2dup3dup4dup5" fmla="*/ 3089005 w 4963886"/>
              <a:gd name="connsiteY14dup0dup1dup2dup3dup4dup5" fmla="*/ 608057 h 1539551"/>
              <a:gd name="connsiteX15dup0dup1dup2dup3dup4dup5" fmla="*/ 3247053 w 4963886"/>
              <a:gd name="connsiteY15dup0dup1dup2dup3dup4dup5" fmla="*/ 606489 h 1539551"/>
              <a:gd name="connsiteX16dup0dup1dup2dup3dup4dup5" fmla="*/ 3368351 w 4963886"/>
              <a:gd name="connsiteY16dup0dup1dup2dup3dup4dup5" fmla="*/ 615820 h 1539551"/>
              <a:gd name="connsiteX17dup0dup1dup2dup3dup4dup5" fmla="*/ 3526971 w 4963886"/>
              <a:gd name="connsiteY17dup0dup1dup2dup3dup4dup5" fmla="*/ 466530 h 1539551"/>
              <a:gd name="connsiteX18dup0dup1dup2dup3dup4dup5" fmla="*/ 3680391 w 4963886"/>
              <a:gd name="connsiteY18dup0dup1dup2dup3dup4dup5" fmla="*/ 451999 h 1539551"/>
              <a:gd name="connsiteX19dup0dup1dup2dup3dup4dup5" fmla="*/ 3726546 w 4963886"/>
              <a:gd name="connsiteY19dup0dup1dup2dup3dup4dup5" fmla="*/ 358693 h 1539551"/>
              <a:gd name="connsiteX20dup0dup1dup2dup3dup4dup5" fmla="*/ 4282751 w 4963886"/>
              <a:gd name="connsiteY20dup0dup1dup2dup3dup4dup5" fmla="*/ 205273 h 1539551"/>
              <a:gd name="connsiteX21dup0dup1dup2dup3dup4dup5" fmla="*/ 4553339 w 4963886"/>
              <a:gd name="connsiteY21dup0dup1dup2dup3dup4dup5" fmla="*/ 0 h 1539551"/>
              <a:gd name="connsiteX22dup0dup1dup2dup3dup4dup5" fmla="*/ 4614770 w 4963886"/>
              <a:gd name="connsiteY22dup0dup1dup2dup3dup4dup5" fmla="*/ 43517 h 1539551"/>
              <a:gd name="connsiteX23dup0dup1dup2dup3dup4dup5" fmla="*/ 4665306 w 4963886"/>
              <a:gd name="connsiteY23dup0dup1dup2dup3dup4dup5" fmla="*/ 205273 h 1539551"/>
              <a:gd name="connsiteX24dup0dup1dup2dup3" fmla="*/ 4963886 w 4963886"/>
              <a:gd name="connsiteY24dup0dup1dup2dup3" fmla="*/ 261257 h 1539551"/>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 y="connsiteY24dup0dup1dup2dup3"/>
              </a:cxn>
            </a:cxnLst>
            <a:rect l="l" t="t" r="r" b="b"/>
            <a:pathLst>
              <a:path w="4963886" h="1539551">
                <a:moveTo>
                  <a:pt x="0" y="1539551"/>
                </a:moveTo>
                <a:lnTo>
                  <a:pt x="279918" y="1390261"/>
                </a:lnTo>
                <a:lnTo>
                  <a:pt x="588326" y="1347739"/>
                </a:lnTo>
                <a:lnTo>
                  <a:pt x="821094" y="1184987"/>
                </a:lnTo>
                <a:lnTo>
                  <a:pt x="979714" y="1259632"/>
                </a:lnTo>
                <a:lnTo>
                  <a:pt x="1315616" y="1063689"/>
                </a:lnTo>
                <a:lnTo>
                  <a:pt x="1408922" y="1082351"/>
                </a:lnTo>
                <a:lnTo>
                  <a:pt x="1492898" y="998375"/>
                </a:lnTo>
                <a:lnTo>
                  <a:pt x="1576873" y="979714"/>
                </a:lnTo>
                <a:lnTo>
                  <a:pt x="1847461" y="1017036"/>
                </a:lnTo>
                <a:lnTo>
                  <a:pt x="2118049" y="877077"/>
                </a:lnTo>
                <a:lnTo>
                  <a:pt x="2444620" y="858416"/>
                </a:lnTo>
                <a:lnTo>
                  <a:pt x="2836506" y="783771"/>
                </a:lnTo>
                <a:cubicBezTo>
                  <a:pt x="2873061" y="759149"/>
                  <a:pt x="2898718" y="712730"/>
                  <a:pt x="2935273" y="688108"/>
                </a:cubicBezTo>
                <a:lnTo>
                  <a:pt x="3089005" y="608057"/>
                </a:lnTo>
                <a:lnTo>
                  <a:pt x="3247053" y="606489"/>
                </a:lnTo>
                <a:lnTo>
                  <a:pt x="3368351" y="615820"/>
                </a:lnTo>
                <a:lnTo>
                  <a:pt x="3526971" y="466530"/>
                </a:lnTo>
                <a:lnTo>
                  <a:pt x="3680391" y="451999"/>
                </a:lnTo>
                <a:lnTo>
                  <a:pt x="3726546" y="358693"/>
                </a:lnTo>
                <a:lnTo>
                  <a:pt x="4282751" y="205273"/>
                </a:lnTo>
                <a:lnTo>
                  <a:pt x="4553339" y="0"/>
                </a:lnTo>
                <a:lnTo>
                  <a:pt x="4614770" y="43517"/>
                </a:lnTo>
                <a:lnTo>
                  <a:pt x="4665306" y="205273"/>
                </a:lnTo>
                <a:lnTo>
                  <a:pt x="4963886" y="261257"/>
                </a:lnTo>
              </a:path>
            </a:pathLst>
          </a:custGeom>
          <a:no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lumMod val="50000"/>
                  <a:lumOff val="50000"/>
                </a:srgbClr>
              </a:solidFill>
            </a:endParaRPr>
          </a:p>
        </p:txBody>
      </p:sp>
      <p:sp>
        <p:nvSpPr>
          <p:cNvPr id="119" name="자유형 118"/>
          <p:cNvSpPr/>
          <p:nvPr/>
        </p:nvSpPr>
        <p:spPr>
          <a:xfrm>
            <a:off x="1306914" y="5616564"/>
            <a:ext cx="61188" cy="43230"/>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121" name="타원 120"/>
          <p:cNvSpPr/>
          <p:nvPr/>
        </p:nvSpPr>
        <p:spPr>
          <a:xfrm>
            <a:off x="2227761" y="3595077"/>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122" name="타원 121"/>
          <p:cNvSpPr/>
          <p:nvPr/>
        </p:nvSpPr>
        <p:spPr>
          <a:xfrm>
            <a:off x="2080780" y="4545152"/>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grpSp>
        <p:nvGrpSpPr>
          <p:cNvPr id="10" name="그룹 9"/>
          <p:cNvGrpSpPr/>
          <p:nvPr/>
        </p:nvGrpSpPr>
        <p:grpSpPr>
          <a:xfrm>
            <a:off x="5606223" y="2030854"/>
            <a:ext cx="2294797" cy="275738"/>
            <a:chOff x="4815768" y="2030854"/>
            <a:chExt cx="2294797" cy="275738"/>
          </a:xfrm>
        </p:grpSpPr>
        <p:sp>
          <p:nvSpPr>
            <p:cNvPr id="123" name="타원 122"/>
            <p:cNvSpPr/>
            <p:nvPr/>
          </p:nvSpPr>
          <p:spPr>
            <a:xfrm>
              <a:off x="4815768" y="2030854"/>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124" name="TextBox 123"/>
            <p:cNvSpPr txBox="1"/>
            <p:nvPr/>
          </p:nvSpPr>
          <p:spPr>
            <a:xfrm>
              <a:off x="5136848" y="2078837"/>
              <a:ext cx="197569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600">
                  <a:solidFill>
                    <a:srgbClr val="000000"/>
                  </a:solidFill>
                  <a:latin typeface="NOVA Bold"/>
                  <a:ea typeface="NOVA Bold"/>
                  <a:cs typeface="Arial Narrow" pitchFamily="34" charset="0"/>
                </a:rPr>
                <a:t>제주시 도심 </a:t>
              </a:r>
              <a:r>
                <a:rPr lang="en-US" altLang="ko-KR" sz="1600">
                  <a:solidFill>
                    <a:srgbClr val="000000"/>
                  </a:solidFill>
                  <a:latin typeface="NOVA Bold"/>
                  <a:ea typeface="NOVA Bold"/>
                  <a:cs typeface="Arial Narrow" pitchFamily="34" charset="0"/>
                </a:rPr>
                <a:t>(19</a:t>
              </a:r>
              <a:r>
                <a:rPr lang="ko-KR" altLang="en-US" sz="1600">
                  <a:solidFill>
                    <a:srgbClr val="000000"/>
                  </a:solidFill>
                  <a:latin typeface="NOVA Bold"/>
                  <a:ea typeface="NOVA Bold"/>
                  <a:cs typeface="Arial Narrow" pitchFamily="34" charset="0"/>
                </a:rPr>
                <a:t>개 동</a:t>
              </a:r>
              <a:r>
                <a:rPr lang="en-US" altLang="ko-KR" sz="1600">
                  <a:solidFill>
                    <a:srgbClr val="000000"/>
                  </a:solidFill>
                  <a:latin typeface="NOVA Bold"/>
                  <a:ea typeface="NOVA Bold"/>
                  <a:cs typeface="Arial Narrow" pitchFamily="34" charset="0"/>
                </a:rPr>
                <a:t>)</a:t>
              </a:r>
              <a:endParaRPr lang="ko-KR" altLang="en-US" sz="1600">
                <a:solidFill>
                  <a:srgbClr val="000000"/>
                </a:solidFill>
                <a:latin typeface="NOVA Bold"/>
                <a:ea typeface="NOVA Bold"/>
                <a:cs typeface="Arial Narrow" pitchFamily="34" charset="0"/>
              </a:endParaRPr>
            </a:p>
          </p:txBody>
        </p:sp>
      </p:grpSp>
      <p:sp>
        <p:nvSpPr>
          <p:cNvPr id="128" name="타원 127"/>
          <p:cNvSpPr/>
          <p:nvPr/>
        </p:nvSpPr>
        <p:spPr>
          <a:xfrm>
            <a:off x="5606223" y="4413402"/>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129" name="TextBox 128"/>
          <p:cNvSpPr txBox="1"/>
          <p:nvPr/>
        </p:nvSpPr>
        <p:spPr>
          <a:xfrm>
            <a:off x="5927302" y="4461385"/>
            <a:ext cx="2520000"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600">
                <a:solidFill>
                  <a:srgbClr val="000000"/>
                </a:solidFill>
                <a:latin typeface="NOVA Bold"/>
                <a:ea typeface="NOVA Bold"/>
                <a:cs typeface="Arial Narrow" pitchFamily="34" charset="0"/>
              </a:rPr>
              <a:t>서귀포시 도심 </a:t>
            </a:r>
            <a:r>
              <a:rPr lang="en-US" altLang="ko-KR" sz="1600">
                <a:solidFill>
                  <a:srgbClr val="000000"/>
                </a:solidFill>
                <a:latin typeface="NOVA Bold"/>
                <a:ea typeface="NOVA Bold"/>
                <a:cs typeface="Arial Narrow" pitchFamily="34" charset="0"/>
              </a:rPr>
              <a:t>(12</a:t>
            </a:r>
            <a:r>
              <a:rPr lang="ko-KR" altLang="en-US" sz="1600">
                <a:solidFill>
                  <a:srgbClr val="000000"/>
                </a:solidFill>
                <a:latin typeface="NOVA Bold"/>
                <a:ea typeface="NOVA Bold"/>
                <a:cs typeface="Arial Narrow" pitchFamily="34" charset="0"/>
              </a:rPr>
              <a:t>개 동</a:t>
            </a:r>
            <a:r>
              <a:rPr lang="en-US" altLang="ko-KR" sz="1600">
                <a:solidFill>
                  <a:srgbClr val="000000"/>
                </a:solidFill>
                <a:latin typeface="NOVA Bold"/>
                <a:ea typeface="NOVA Bold"/>
                <a:cs typeface="Arial Narrow" pitchFamily="34" charset="0"/>
              </a:rPr>
              <a:t>)</a:t>
            </a:r>
            <a:endParaRPr lang="ko-KR" altLang="en-US" sz="1600">
              <a:solidFill>
                <a:srgbClr val="000000"/>
              </a:solidFill>
              <a:latin typeface="NOVA Bold"/>
              <a:ea typeface="NOVA Bold"/>
              <a:cs typeface="Arial Narrow" pitchFamily="34" charset="0"/>
            </a:endParaRPr>
          </a:p>
        </p:txBody>
      </p:sp>
      <p:sp>
        <p:nvSpPr>
          <p:cNvPr id="130" name="모서리가 둥근 직사각형 129"/>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1</a:t>
            </a:r>
            <a:endParaRPr lang="ko-KR" altLang="en-US" sz="16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4541500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3779912" y="2359244"/>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80052400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석 개요</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기존 코스 분석은 한국과 중국의 </a:t>
            </a:r>
            <a:r>
              <a:rPr lang="en-US" altLang="ko-KR" sz="1600" spc="50">
                <a:ln>
                  <a:solidFill>
                    <a:prstClr val="black">
                      <a:alpha val="20000"/>
                    </a:prstClr>
                  </a:solidFill>
                </a:ln>
                <a:solidFill>
                  <a:srgbClr val="000000"/>
                </a:solidFill>
                <a:latin typeface="NOVA Bold"/>
                <a:ea typeface="NOVA Bold"/>
                <a:cs typeface="Arial" pitchFamily="34" charset="0"/>
              </a:rPr>
              <a:t>27</a:t>
            </a:r>
            <a:r>
              <a:rPr lang="ko-KR" altLang="en-US" sz="1600" spc="50">
                <a:ln>
                  <a:solidFill>
                    <a:prstClr val="black">
                      <a:alpha val="20000"/>
                    </a:prstClr>
                  </a:solidFill>
                </a:ln>
                <a:solidFill>
                  <a:srgbClr val="000000"/>
                </a:solidFill>
                <a:latin typeface="NOVA Bold"/>
                <a:ea typeface="NOVA Bold"/>
                <a:cs typeface="Arial" pitchFamily="34" charset="0"/>
              </a:rPr>
              <a:t>개의 주요 단체 상품을 대상으로 수행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8" name="직사각형 27"/>
          <p:cNvSpPr/>
          <p:nvPr/>
        </p:nvSpPr>
        <p:spPr>
          <a:xfrm>
            <a:off x="4780961" y="2274362"/>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방문 순서에 관계 없이</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여행 기간 내 일차별</a:t>
            </a:r>
            <a:r>
              <a:rPr lang="en-US" altLang="ko-KR" sz="1400" spc="-60">
                <a:solidFill>
                  <a:srgbClr val="000000"/>
                </a:solidFill>
                <a:latin typeface="NOVA Bold" panose="00000800000000000000" pitchFamily="2" charset="-127"/>
                <a:ea typeface="NOVA Bold" panose="00000800000000000000" pitchFamily="2" charset="-127"/>
              </a:rPr>
              <a:t>(Seg.)</a:t>
            </a:r>
            <a:r>
              <a:rPr lang="ko-KR" altLang="en-US" sz="1400" spc="-60">
                <a:solidFill>
                  <a:srgbClr val="000000"/>
                </a:solidFill>
                <a:latin typeface="NOVA Bold" panose="00000800000000000000" pitchFamily="2" charset="-127"/>
                <a:ea typeface="NOVA Bold" panose="00000800000000000000" pitchFamily="2" charset="-127"/>
              </a:rPr>
              <a:t> 방문지 빈도  분석</a:t>
            </a:r>
          </a:p>
        </p:txBody>
      </p:sp>
      <p:sp>
        <p:nvSpPr>
          <p:cNvPr id="29" name="TextBox 28"/>
          <p:cNvSpPr txBox="1"/>
          <p:nvPr/>
        </p:nvSpPr>
        <p:spPr>
          <a:xfrm>
            <a:off x="4716416" y="1880828"/>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코스 분석 방법</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30" name="TextBox 29"/>
          <p:cNvSpPr txBox="1"/>
          <p:nvPr/>
        </p:nvSpPr>
        <p:spPr>
          <a:xfrm>
            <a:off x="359972" y="1880828"/>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분석 대상</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45" name="직사각형 44"/>
          <p:cNvSpPr/>
          <p:nvPr/>
        </p:nvSpPr>
        <p:spPr>
          <a:xfrm>
            <a:off x="413972" y="2274362"/>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관광 코스에 대한 전수 조사는 불가능함으로</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한국</a:t>
            </a:r>
            <a:r>
              <a:rPr lang="ko-KR" altLang="en-US" sz="1400" spc="-60">
                <a:solidFill>
                  <a:srgbClr val="000000"/>
                </a:solidFill>
                <a:latin typeface="NOVA Bold" panose="00000800000000000000" pitchFamily="2" charset="-127"/>
                <a:ea typeface="NOVA Bold" panose="00000800000000000000" pitchFamily="2" charset="-127"/>
                <a:sym typeface="Wingdings 2"/>
              </a:rPr>
              <a:t></a:t>
            </a:r>
            <a:r>
              <a:rPr lang="ko-KR" altLang="en-US" sz="1400" spc="-60">
                <a:solidFill>
                  <a:srgbClr val="000000"/>
                </a:solidFill>
                <a:latin typeface="NOVA Bold" panose="00000800000000000000" pitchFamily="2" charset="-127"/>
                <a:ea typeface="NOVA Bold" panose="00000800000000000000" pitchFamily="2" charset="-127"/>
              </a:rPr>
              <a:t>중국의 주요</a:t>
            </a:r>
            <a:r>
              <a:rPr lang="en-US" altLang="ko-KR" sz="1400" spc="-60">
                <a:solidFill>
                  <a:srgbClr val="000000"/>
                </a:solidFill>
                <a:latin typeface="NOVA Bold" panose="00000800000000000000" pitchFamily="2" charset="-127"/>
                <a:ea typeface="NOVA Bold" panose="00000800000000000000" pitchFamily="2" charset="-127"/>
              </a:rPr>
              <a:t>7</a:t>
            </a:r>
            <a:r>
              <a:rPr lang="ko-KR" altLang="en-US" sz="1400" spc="-60">
                <a:solidFill>
                  <a:srgbClr val="000000"/>
                </a:solidFill>
                <a:latin typeface="NOVA Bold" panose="00000800000000000000" pitchFamily="2" charset="-127"/>
                <a:ea typeface="NOVA Bold" panose="00000800000000000000" pitchFamily="2" charset="-127"/>
              </a:rPr>
              <a:t>개 여행사의 단체 상품 대상 분석</a:t>
            </a:r>
          </a:p>
        </p:txBody>
      </p:sp>
      <p:graphicFrame>
        <p:nvGraphicFramePr>
          <p:cNvPr id="57" name="표 56"/>
          <p:cNvGraphicFramePr>
            <a:graphicFrameLocks noGrp="1"/>
          </p:cNvGraphicFramePr>
          <p:nvPr>
            <p:extLst>
              <p:ext uri="{D42A27DB-BD31-4B8C-83A1-F6EECF244321}">
                <p14:modId xmlns:p14="http://schemas.microsoft.com/office/powerpoint/2010/main" val="3231498899"/>
              </p:ext>
            </p:extLst>
          </p:nvPr>
        </p:nvGraphicFramePr>
        <p:xfrm>
          <a:off x="418933" y="3104964"/>
          <a:ext cx="3864723" cy="3408584"/>
        </p:xfrm>
        <a:graphic>
          <a:graphicData uri="http://schemas.openxmlformats.org/drawingml/2006/table">
            <a:tbl>
              <a:tblPr firstRow="1" bandRow="1">
                <a:tableStyleId>{5C22544A-7EE6-4342-B048-85BDC9FD1C3A}</a:tableStyleId>
              </a:tblPr>
              <a:tblGrid>
                <a:gridCol w="1056723"/>
                <a:gridCol w="972000"/>
                <a:gridCol w="1836000"/>
              </a:tblGrid>
              <a:tr h="370840">
                <a:tc>
                  <a:txBody>
                    <a:bodyPr/>
                    <a:lstStyle/>
                    <a:p>
                      <a:pPr algn="ctr" latinLnBrk="1"/>
                      <a:r>
                        <a:rPr lang="ko-KR" altLang="en-US" sz="1200" smtClean="0">
                          <a:solidFill>
                            <a:schemeClr val="bg1"/>
                          </a:solidFill>
                        </a:rPr>
                        <a:t>국적 구분</a:t>
                      </a:r>
                      <a:endParaRPr lang="ko-KR" altLang="en-US" sz="1200">
                        <a:solidFill>
                          <a:schemeClr val="bg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algn="ctr" latinLnBrk="1"/>
                      <a:r>
                        <a:rPr lang="ko-KR" altLang="en-US" sz="1200" smtClean="0">
                          <a:solidFill>
                            <a:schemeClr val="bg1"/>
                          </a:solidFill>
                        </a:rPr>
                        <a:t>여행사</a:t>
                      </a:r>
                      <a:endParaRPr lang="ko-KR" altLang="en-US" sz="1200">
                        <a:solidFill>
                          <a:schemeClr val="bg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algn="ctr" latinLnBrk="1"/>
                      <a:r>
                        <a:rPr lang="ko-KR" altLang="en-US" sz="1200" smtClean="0">
                          <a:solidFill>
                            <a:schemeClr val="bg1"/>
                          </a:solidFill>
                        </a:rPr>
                        <a:t>주요 상품 기간</a:t>
                      </a:r>
                      <a:endParaRPr lang="ko-KR" altLang="en-US" sz="1200">
                        <a:solidFill>
                          <a:schemeClr val="bg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284432">
                <a:tc rowSpan="3">
                  <a:txBody>
                    <a:bodyPr/>
                    <a:lstStyle/>
                    <a:p>
                      <a:pPr algn="ctr" latinLnBrk="1"/>
                      <a:endParaRPr lang="ko-KR" altLang="en-US" sz="1200">
                        <a:solidFill>
                          <a:schemeClr val="tx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ko-KR" altLang="en-US" sz="1200" smtClean="0">
                          <a:solidFill>
                            <a:schemeClr val="tx1"/>
                          </a:solidFill>
                        </a:rPr>
                        <a:t>하나투어</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algn="ctr" latinLnBrk="1"/>
                      <a:r>
                        <a:rPr lang="en-US" altLang="ko-KR" sz="1200" smtClean="0">
                          <a:solidFill>
                            <a:schemeClr val="tx1"/>
                          </a:solidFill>
                        </a:rPr>
                        <a:t>2</a:t>
                      </a:r>
                      <a:r>
                        <a:rPr lang="ko-KR" altLang="en-US" sz="1200" smtClean="0">
                          <a:solidFill>
                            <a:schemeClr val="tx1"/>
                          </a:solidFill>
                        </a:rPr>
                        <a:t>박 </a:t>
                      </a:r>
                      <a:r>
                        <a:rPr lang="en-US" altLang="ko-KR" sz="1200" smtClean="0">
                          <a:solidFill>
                            <a:schemeClr val="tx1"/>
                          </a:solidFill>
                        </a:rPr>
                        <a:t>3</a:t>
                      </a:r>
                      <a:r>
                        <a:rPr lang="ko-KR" altLang="en-US" sz="1200" smtClean="0">
                          <a:solidFill>
                            <a:schemeClr val="tx1"/>
                          </a:solidFill>
                        </a:rPr>
                        <a:t>일</a:t>
                      </a:r>
                      <a:r>
                        <a:rPr lang="en-US" altLang="ko-KR" sz="1050" smtClean="0">
                          <a:solidFill>
                            <a:schemeClr val="tx1"/>
                          </a:solidFill>
                        </a:rPr>
                        <a:t>(4</a:t>
                      </a:r>
                      <a:r>
                        <a:rPr lang="ko-KR" altLang="en-US" sz="1050" smtClean="0">
                          <a:solidFill>
                            <a:schemeClr val="tx1"/>
                          </a:solidFill>
                        </a:rPr>
                        <a:t>종</a:t>
                      </a:r>
                      <a:r>
                        <a:rPr lang="en-US" altLang="ko-KR" sz="1050" smtClean="0">
                          <a:solidFill>
                            <a:schemeClr val="tx1"/>
                          </a:solidFill>
                        </a:rPr>
                        <a:t>)</a:t>
                      </a:r>
                      <a:endParaRPr lang="ko-KR" altLang="en-US" sz="105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284432">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ko-KR" altLang="en-US" sz="1200" smtClean="0">
                          <a:solidFill>
                            <a:schemeClr val="tx1"/>
                          </a:solidFill>
                        </a:rPr>
                        <a:t>모두투어</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algn="ctr" latinLnBrk="1"/>
                      <a:r>
                        <a:rPr lang="en-US" altLang="ko-KR" sz="1200" smtClean="0">
                          <a:solidFill>
                            <a:schemeClr val="tx1"/>
                          </a:solidFill>
                        </a:rPr>
                        <a:t>1</a:t>
                      </a:r>
                      <a:r>
                        <a:rPr lang="ko-KR" altLang="en-US" sz="1200" smtClean="0">
                          <a:solidFill>
                            <a:schemeClr val="tx1"/>
                          </a:solidFill>
                        </a:rPr>
                        <a:t>박 </a:t>
                      </a:r>
                      <a:r>
                        <a:rPr lang="en-US" altLang="ko-KR" sz="1200" smtClean="0">
                          <a:solidFill>
                            <a:schemeClr val="tx1"/>
                          </a:solidFill>
                        </a:rPr>
                        <a:t>2</a:t>
                      </a:r>
                      <a:r>
                        <a:rPr lang="ko-KR" altLang="en-US" sz="1200" smtClean="0">
                          <a:solidFill>
                            <a:schemeClr val="tx1"/>
                          </a:solidFill>
                        </a:rPr>
                        <a:t>일</a:t>
                      </a:r>
                      <a:r>
                        <a:rPr lang="en-US" altLang="ko-KR" sz="1200" smtClean="0">
                          <a:solidFill>
                            <a:schemeClr val="tx1"/>
                          </a:solidFill>
                        </a:rPr>
                        <a:t>,</a:t>
                      </a:r>
                      <a:r>
                        <a:rPr lang="en-US" altLang="ko-KR" sz="1200" baseline="0" smtClean="0">
                          <a:solidFill>
                            <a:schemeClr val="tx1"/>
                          </a:solidFill>
                        </a:rPr>
                        <a:t> 2</a:t>
                      </a:r>
                      <a:r>
                        <a:rPr lang="ko-KR" altLang="en-US" sz="1200" baseline="0" smtClean="0">
                          <a:solidFill>
                            <a:schemeClr val="tx1"/>
                          </a:solidFill>
                        </a:rPr>
                        <a:t>박 </a:t>
                      </a:r>
                      <a:r>
                        <a:rPr lang="en-US" altLang="ko-KR" sz="1200" baseline="0" smtClean="0">
                          <a:solidFill>
                            <a:schemeClr val="tx1"/>
                          </a:solidFill>
                        </a:rPr>
                        <a:t>3</a:t>
                      </a:r>
                      <a:r>
                        <a:rPr lang="ko-KR" altLang="en-US" sz="1200" baseline="0" smtClean="0">
                          <a:solidFill>
                            <a:schemeClr val="tx1"/>
                          </a:solidFill>
                        </a:rPr>
                        <a:t>일 </a:t>
                      </a:r>
                      <a:r>
                        <a:rPr lang="en-US" altLang="ko-KR" sz="1050" baseline="0" smtClean="0">
                          <a:solidFill>
                            <a:schemeClr val="tx1"/>
                          </a:solidFill>
                        </a:rPr>
                        <a:t>(</a:t>
                      </a:r>
                      <a:r>
                        <a:rPr lang="ko-KR" altLang="en-US" sz="1050" baseline="0" smtClean="0">
                          <a:solidFill>
                            <a:schemeClr val="tx1"/>
                          </a:solidFill>
                        </a:rPr>
                        <a:t>각 </a:t>
                      </a:r>
                      <a:r>
                        <a:rPr lang="en-US" altLang="ko-KR" sz="1050" baseline="0" smtClean="0">
                          <a:solidFill>
                            <a:schemeClr val="tx1"/>
                          </a:solidFill>
                        </a:rPr>
                        <a:t>1</a:t>
                      </a:r>
                      <a:r>
                        <a:rPr lang="ko-KR" altLang="en-US" sz="1050" baseline="0" smtClean="0">
                          <a:solidFill>
                            <a:schemeClr val="tx1"/>
                          </a:solidFill>
                        </a:rPr>
                        <a:t>종</a:t>
                      </a:r>
                      <a:r>
                        <a:rPr lang="en-US" altLang="ko-KR" sz="1050" baseline="0" smtClean="0">
                          <a:solidFill>
                            <a:schemeClr val="tx1"/>
                          </a:solidFill>
                        </a:rPr>
                        <a:t>)</a:t>
                      </a:r>
                      <a:endParaRPr lang="ko-KR" altLang="en-US" sz="11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284432">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ko-KR" altLang="en-US" sz="1200" smtClean="0">
                          <a:solidFill>
                            <a:schemeClr val="tx1"/>
                          </a:solidFill>
                        </a:rPr>
                        <a:t>인터파크투어</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200" smtClean="0">
                          <a:solidFill>
                            <a:schemeClr val="tx1"/>
                          </a:solidFill>
                        </a:rPr>
                        <a:t>2</a:t>
                      </a:r>
                      <a:r>
                        <a:rPr lang="ko-KR" altLang="en-US" sz="1200" smtClean="0">
                          <a:solidFill>
                            <a:schemeClr val="tx1"/>
                          </a:solidFill>
                        </a:rPr>
                        <a:t>박 </a:t>
                      </a:r>
                      <a:r>
                        <a:rPr lang="en-US" altLang="ko-KR" sz="1200" smtClean="0">
                          <a:solidFill>
                            <a:schemeClr val="tx1"/>
                          </a:solidFill>
                        </a:rPr>
                        <a:t>3</a:t>
                      </a:r>
                      <a:r>
                        <a:rPr lang="ko-KR" altLang="en-US" sz="1200" smtClean="0">
                          <a:solidFill>
                            <a:schemeClr val="tx1"/>
                          </a:solidFill>
                        </a:rPr>
                        <a:t>일 </a:t>
                      </a:r>
                      <a:r>
                        <a:rPr lang="en-US" altLang="ko-KR" sz="1050" smtClean="0">
                          <a:solidFill>
                            <a:schemeClr val="tx1"/>
                          </a:solidFill>
                        </a:rPr>
                        <a:t>(4</a:t>
                      </a:r>
                      <a:r>
                        <a:rPr lang="ko-KR" altLang="en-US" sz="1050" smtClean="0">
                          <a:solidFill>
                            <a:schemeClr val="tx1"/>
                          </a:solidFill>
                        </a:rPr>
                        <a:t>종</a:t>
                      </a:r>
                      <a:r>
                        <a:rPr lang="en-US" altLang="ko-KR" sz="1050" smtClean="0">
                          <a:solidFill>
                            <a:schemeClr val="tx1"/>
                          </a:solidFill>
                        </a:rPr>
                        <a: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370840">
                <a:tc rowSpan="4">
                  <a:txBody>
                    <a:bodyPr/>
                    <a:lstStyle/>
                    <a:p>
                      <a:pPr algn="ctr" latinLnBrk="1"/>
                      <a:endParaRPr lang="ko-KR" altLang="en-US" sz="1200">
                        <a:solidFill>
                          <a:schemeClr val="tx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YTS</a:t>
                      </a:r>
                    </a:p>
                    <a:p>
                      <a:pPr algn="ctr" latinLnBrk="1"/>
                      <a:r>
                        <a:rPr lang="en-US" altLang="ko-KR" sz="1050" smtClean="0">
                          <a:solidFill>
                            <a:schemeClr val="tx1"/>
                          </a:solidFill>
                        </a:rPr>
                        <a:t>(aoyou.com)</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marL="85725" marR="0" indent="-85725" algn="l" defTabSz="914400" rtl="0" eaLnBrk="1" fontAlgn="auto" latinLnBrk="1" hangingPunct="1">
                        <a:lnSpc>
                          <a:spcPct val="100000"/>
                        </a:lnSpc>
                        <a:spcBef>
                          <a:spcPct val="0"/>
                        </a:spcBef>
                        <a:spcAft>
                          <a:spcPct val="0"/>
                        </a:spcAft>
                        <a:buClrTx/>
                        <a:buSzTx/>
                        <a:buFont typeface="Arial" pitchFamily="34" charset="0"/>
                        <a:buChar char="•"/>
                        <a:defRPr/>
                      </a:pPr>
                      <a:r>
                        <a:rPr lang="en-US" altLang="ko-KR" sz="1200" smtClean="0">
                          <a:solidFill>
                            <a:schemeClr val="tx1"/>
                          </a:solidFill>
                        </a:rPr>
                        <a:t>1</a:t>
                      </a:r>
                      <a:r>
                        <a:rPr lang="ko-KR" altLang="en-US" sz="1200" smtClean="0">
                          <a:solidFill>
                            <a:schemeClr val="tx1"/>
                          </a:solidFill>
                        </a:rPr>
                        <a:t>박 </a:t>
                      </a:r>
                      <a:r>
                        <a:rPr lang="en-US" altLang="ko-KR" sz="1200" smtClean="0">
                          <a:solidFill>
                            <a:schemeClr val="tx1"/>
                          </a:solidFill>
                        </a:rPr>
                        <a:t>2</a:t>
                      </a:r>
                      <a:r>
                        <a:rPr lang="ko-KR" altLang="en-US" sz="1200" smtClean="0">
                          <a:solidFill>
                            <a:schemeClr val="tx1"/>
                          </a:solidFill>
                        </a:rPr>
                        <a:t>일</a:t>
                      </a:r>
                      <a:r>
                        <a:rPr lang="en-US" altLang="ko-KR" sz="1050" baseline="0" smtClean="0">
                          <a:solidFill>
                            <a:schemeClr val="tx1"/>
                          </a:solidFill>
                        </a:rPr>
                        <a:t>(</a:t>
                      </a:r>
                      <a:r>
                        <a:rPr lang="ko-KR" altLang="en-US" sz="1050" baseline="0" smtClean="0">
                          <a:solidFill>
                            <a:schemeClr val="tx1"/>
                          </a:solidFill>
                        </a:rPr>
                        <a:t>서울 포함</a:t>
                      </a:r>
                      <a:r>
                        <a:rPr lang="en-US" altLang="ko-KR" sz="1050" baseline="0" smtClean="0">
                          <a:solidFill>
                            <a:schemeClr val="tx1"/>
                          </a:solidFill>
                        </a:rPr>
                        <a:t>, 2</a:t>
                      </a:r>
                      <a:r>
                        <a:rPr lang="ko-KR" altLang="en-US" sz="1050" baseline="0" smtClean="0">
                          <a:solidFill>
                            <a:schemeClr val="tx1"/>
                          </a:solidFill>
                        </a:rPr>
                        <a:t>종</a:t>
                      </a:r>
                      <a:r>
                        <a:rPr lang="en-US" altLang="ko-KR" sz="1050" baseline="0" smtClean="0">
                          <a:solidFill>
                            <a:schemeClr val="tx1"/>
                          </a:solidFill>
                        </a:rPr>
                        <a:t>)</a:t>
                      </a:r>
                      <a:endParaRPr lang="en-US" altLang="ko-KR" sz="1200" smtClean="0">
                        <a:solidFill>
                          <a:schemeClr val="tx1"/>
                        </a:solidFill>
                      </a:endParaRPr>
                    </a:p>
                    <a:p>
                      <a:pPr marL="85725" marR="0" indent="-85725" algn="l" defTabSz="914400" rtl="0" eaLnBrk="1" fontAlgn="auto" latinLnBrk="1" hangingPunct="1">
                        <a:lnSpc>
                          <a:spcPct val="100000"/>
                        </a:lnSpc>
                        <a:spcBef>
                          <a:spcPct val="0"/>
                        </a:spcBef>
                        <a:spcAft>
                          <a:spcPct val="0"/>
                        </a:spcAft>
                        <a:buClrTx/>
                        <a:buSzTx/>
                        <a:buFont typeface="Arial" pitchFamily="34" charset="0"/>
                        <a:buChar char="•"/>
                        <a:defRPr/>
                      </a:pPr>
                      <a:r>
                        <a:rPr lang="en-US" altLang="ko-KR" sz="1200" baseline="0" smtClean="0">
                          <a:solidFill>
                            <a:schemeClr val="tx1"/>
                          </a:solidFill>
                        </a:rPr>
                        <a:t>3</a:t>
                      </a:r>
                      <a:r>
                        <a:rPr lang="ko-KR" altLang="en-US" sz="1200" baseline="0" smtClean="0">
                          <a:solidFill>
                            <a:schemeClr val="tx1"/>
                          </a:solidFill>
                        </a:rPr>
                        <a:t>박 </a:t>
                      </a:r>
                      <a:r>
                        <a:rPr lang="en-US" altLang="ko-KR" sz="1200" baseline="0" smtClean="0">
                          <a:solidFill>
                            <a:schemeClr val="tx1"/>
                          </a:solidFill>
                        </a:rPr>
                        <a:t>4</a:t>
                      </a:r>
                      <a:r>
                        <a:rPr lang="ko-KR" altLang="en-US" sz="1200" baseline="0" smtClean="0">
                          <a:solidFill>
                            <a:schemeClr val="tx1"/>
                          </a:solidFill>
                        </a:rPr>
                        <a:t>일</a:t>
                      </a:r>
                      <a:r>
                        <a:rPr lang="en-US" altLang="ko-KR" sz="1050" baseline="0" smtClean="0">
                          <a:solidFill>
                            <a:schemeClr val="tx1"/>
                          </a:solidFill>
                        </a:rPr>
                        <a:t>(1</a:t>
                      </a:r>
                      <a:r>
                        <a:rPr lang="ko-KR" altLang="en-US" sz="1050" baseline="0" smtClean="0">
                          <a:solidFill>
                            <a:schemeClr val="tx1"/>
                          </a:solidFill>
                        </a:rPr>
                        <a:t>종</a:t>
                      </a:r>
                      <a:r>
                        <a:rPr lang="en-US" altLang="ko-KR" sz="1050" baseline="0" smtClean="0">
                          <a:solidFill>
                            <a:schemeClr val="tx1"/>
                          </a:solidFill>
                        </a:rPr>
                        <a:t>)</a:t>
                      </a:r>
                      <a:endParaRPr lang="ko-KR" altLang="en-US" sz="1100" smtClean="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370840">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TS</a:t>
                      </a:r>
                    </a:p>
                    <a:p>
                      <a:pPr algn="ctr" latinLnBrk="1"/>
                      <a:r>
                        <a:rPr lang="en-US" altLang="ko-KR" sz="1050" smtClean="0">
                          <a:solidFill>
                            <a:schemeClr val="tx1"/>
                          </a:solidFill>
                        </a:rPr>
                        <a:t>(ctsho.com)</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3</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4</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200" b="0" i="0" u="none" strike="noStrike" kern="1200" cap="none" spc="0" normalizeH="0" baseline="0" noProof="0" smtClean="0">
                          <a:ln>
                            <a:noFill/>
                          </a:ln>
                          <a:solidFill>
                            <a:srgbClr val="000000"/>
                          </a:solidFill>
                          <a:uLnTx/>
                          <a:uFillTx/>
                          <a:latin typeface="+mn-lt"/>
                          <a:ea typeface="+mn-ea"/>
                          <a:cs typeface="+mn-cs"/>
                        </a:rPr>
                        <a:t>, 4</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5</a:t>
                      </a:r>
                      <a:r>
                        <a:rPr kumimoji="0" lang="ko-KR" altLang="en-US" sz="1200" b="0" i="0" u="none" strike="noStrike" kern="1200" cap="none" spc="0" normalizeH="0" baseline="0" noProof="0" smtClean="0">
                          <a:ln>
                            <a:noFill/>
                          </a:ln>
                          <a:solidFill>
                            <a:srgbClr val="000000"/>
                          </a:solidFill>
                          <a:uLnTx/>
                          <a:uFillTx/>
                          <a:latin typeface="+mn-lt"/>
                          <a:ea typeface="+mn-ea"/>
                          <a:cs typeface="+mn-cs"/>
                        </a:rPr>
                        <a:t>일 </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각 </a:t>
                      </a:r>
                      <a:r>
                        <a:rPr kumimoji="0" lang="en-US" altLang="ko-KR" sz="1050" b="0" i="0" u="none" strike="noStrike" kern="1200" cap="none" spc="0" normalizeH="0" baseline="0" noProof="0" smtClean="0">
                          <a:ln>
                            <a:noFill/>
                          </a:ln>
                          <a:solidFill>
                            <a:srgbClr val="000000"/>
                          </a:solidFill>
                          <a:uLnTx/>
                          <a:uFillTx/>
                          <a:latin typeface="+mn-lt"/>
                          <a:ea typeface="+mn-ea"/>
                          <a:cs typeface="+mn-cs"/>
                        </a:rPr>
                        <a:t>1</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kumimoji="0" lang="en-US" altLang="ko-KR" sz="1200" b="0" i="0" u="none" strike="noStrike" kern="1200" cap="none" spc="0" normalizeH="0" baseline="0" noProof="0" smtClean="0">
                        <a:ln>
                          <a:noFill/>
                        </a:ln>
                        <a:solidFill>
                          <a:srgbClr val="000000"/>
                        </a:solidFill>
                        <a:uLnTx/>
                        <a:uFillTx/>
                        <a:latin typeface="+mn-lt"/>
                        <a:ea typeface="+mn-ea"/>
                        <a:cs typeface="+mn-cs"/>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1</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2</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서울 포함</a:t>
                      </a:r>
                      <a:r>
                        <a:rPr kumimoji="0" lang="en-US" altLang="ko-KR" sz="1050" b="0" i="0" u="none" strike="noStrike" kern="1200" cap="none" spc="0" normalizeH="0" baseline="0" noProof="0" smtClean="0">
                          <a:ln>
                            <a:noFill/>
                          </a:ln>
                          <a:solidFill>
                            <a:srgbClr val="000000"/>
                          </a:solidFill>
                          <a:uLnTx/>
                          <a:uFillTx/>
                          <a:latin typeface="+mn-lt"/>
                          <a:ea typeface="+mn-ea"/>
                          <a:cs typeface="+mn-cs"/>
                        </a:rPr>
                        <a:t>, 1</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370840">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ITS</a:t>
                      </a:r>
                    </a:p>
                    <a:p>
                      <a:pPr algn="ctr" latinLnBrk="1"/>
                      <a:r>
                        <a:rPr lang="en-US" altLang="ko-KR" sz="1050" smtClean="0">
                          <a:solidFill>
                            <a:schemeClr val="tx1"/>
                          </a:solidFill>
                        </a:rPr>
                        <a:t>(cits.ne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1</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2</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서울 포함</a:t>
                      </a:r>
                      <a:r>
                        <a:rPr kumimoji="0" lang="en-US" altLang="ko-KR" sz="1050" b="0" i="0" u="none" strike="noStrike" kern="1200" cap="none" spc="0" normalizeH="0" baseline="0" noProof="0" smtClean="0">
                          <a:ln>
                            <a:noFill/>
                          </a:ln>
                          <a:solidFill>
                            <a:srgbClr val="000000"/>
                          </a:solidFill>
                          <a:uLnTx/>
                          <a:uFillTx/>
                          <a:latin typeface="+mn-lt"/>
                          <a:ea typeface="+mn-ea"/>
                          <a:cs typeface="+mn-cs"/>
                        </a:rPr>
                        <a:t>, 3</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kumimoji="0" lang="en-US" altLang="ko-KR" sz="1100" b="0" i="0" u="none" strike="noStrike" kern="1200" cap="none" spc="0" normalizeH="0" baseline="0" noProof="0" smtClean="0">
                        <a:ln>
                          <a:noFill/>
                        </a:ln>
                        <a:solidFill>
                          <a:srgbClr val="000000"/>
                        </a:solidFill>
                        <a:uLnTx/>
                        <a:uFillTx/>
                        <a:latin typeface="+mn-lt"/>
                        <a:ea typeface="+mn-ea"/>
                        <a:cs typeface="+mn-cs"/>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2</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3</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서울 포함</a:t>
                      </a:r>
                      <a:r>
                        <a:rPr kumimoji="0" lang="en-US" altLang="ko-KR" sz="1050" b="0" i="0" u="none" strike="noStrike" kern="1200" cap="none" spc="0" normalizeH="0" baseline="0" noProof="0" smtClean="0">
                          <a:ln>
                            <a:noFill/>
                          </a:ln>
                          <a:solidFill>
                            <a:srgbClr val="000000"/>
                          </a:solidFill>
                          <a:uLnTx/>
                          <a:uFillTx/>
                          <a:latin typeface="+mn-lt"/>
                          <a:ea typeface="+mn-ea"/>
                          <a:cs typeface="+mn-cs"/>
                        </a:rPr>
                        <a:t>, 1</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370840">
                <a:tc vMerge="1">
                  <a:txBody>
                    <a:bodyPr/>
                    <a:lstStyle/>
                    <a:p>
                      <a:pPr algn="ctr" latinLnBrk="1"/>
                      <a:endParaRPr lang="ko-KR" altLang="en-US" sz="1200">
                        <a:solidFill>
                          <a:schemeClr val="tx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TRIP</a:t>
                      </a:r>
                    </a:p>
                    <a:p>
                      <a:pPr algn="ctr" latinLnBrk="1"/>
                      <a:r>
                        <a:rPr lang="en-US" altLang="ko-KR" sz="1200" smtClean="0">
                          <a:solidFill>
                            <a:schemeClr val="tx1"/>
                          </a:solidFill>
                        </a:rPr>
                        <a:t>(ctrip.com)</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ko-KR" altLang="en-US" sz="1200" b="0" i="0" u="none" strike="noStrike" kern="1200" cap="none" spc="0" normalizeH="0" baseline="0" noProof="0" smtClean="0">
                          <a:ln>
                            <a:noFill/>
                          </a:ln>
                          <a:solidFill>
                            <a:srgbClr val="000000"/>
                          </a:solidFill>
                          <a:uLnTx/>
                          <a:uFillTx/>
                          <a:latin typeface="+mn-lt"/>
                          <a:ea typeface="+mn-ea"/>
                          <a:cs typeface="+mn-cs"/>
                        </a:rPr>
                        <a:t>무박</a:t>
                      </a:r>
                      <a:r>
                        <a:rPr kumimoji="0" lang="en-US" altLang="ko-KR" sz="1200" b="0" i="0" u="none" strike="noStrike" kern="1200" cap="none" spc="0" normalizeH="0" baseline="0" noProof="0" smtClean="0">
                          <a:ln>
                            <a:noFill/>
                          </a:ln>
                          <a:solidFill>
                            <a:srgbClr val="000000"/>
                          </a:solidFill>
                          <a:uLnTx/>
                          <a:uFillTx/>
                          <a:latin typeface="+mn-lt"/>
                          <a:ea typeface="+mn-ea"/>
                          <a:cs typeface="+mn-cs"/>
                        </a:rPr>
                        <a:t>1</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크루즈상품</a:t>
                      </a:r>
                      <a:r>
                        <a:rPr kumimoji="0" lang="en-US" altLang="ko-KR" sz="1050" b="0" i="0" u="none" strike="noStrike" kern="1200" cap="none" spc="0" normalizeH="0" baseline="0" noProof="0" smtClean="0">
                          <a:ln>
                            <a:noFill/>
                          </a:ln>
                          <a:solidFill>
                            <a:srgbClr val="000000"/>
                          </a:solidFill>
                          <a:uLnTx/>
                          <a:uFillTx/>
                          <a:latin typeface="+mn-lt"/>
                          <a:ea typeface="+mn-ea"/>
                          <a:cs typeface="+mn-cs"/>
                        </a:rPr>
                        <a:t>, 6</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kumimoji="0" lang="en-US" altLang="ko-KR" sz="1200" b="0" i="0" u="none" strike="noStrike" kern="1200" cap="none" spc="0" normalizeH="0" baseline="0" noProof="0" smtClean="0">
                        <a:ln>
                          <a:noFill/>
                        </a:ln>
                        <a:solidFill>
                          <a:srgbClr val="000000"/>
                        </a:solidFill>
                        <a:uLnTx/>
                        <a:uFillTx/>
                        <a:latin typeface="+mn-lt"/>
                        <a:ea typeface="+mn-ea"/>
                        <a:cs typeface="+mn-cs"/>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lang="en-US" altLang="ko-KR" sz="1200" smtClean="0">
                          <a:solidFill>
                            <a:schemeClr val="tx1"/>
                          </a:solidFill>
                        </a:rPr>
                        <a:t>2</a:t>
                      </a:r>
                      <a:r>
                        <a:rPr lang="ko-KR" altLang="en-US" sz="1200" smtClean="0">
                          <a:solidFill>
                            <a:schemeClr val="tx1"/>
                          </a:solidFill>
                        </a:rPr>
                        <a:t>박 </a:t>
                      </a:r>
                      <a:r>
                        <a:rPr lang="en-US" altLang="ko-KR" sz="1200" smtClean="0">
                          <a:solidFill>
                            <a:schemeClr val="tx1"/>
                          </a:solidFill>
                        </a:rPr>
                        <a:t>3</a:t>
                      </a:r>
                      <a:r>
                        <a:rPr lang="ko-KR" altLang="en-US" sz="1200" smtClean="0">
                          <a:solidFill>
                            <a:schemeClr val="tx1"/>
                          </a:solidFill>
                        </a:rPr>
                        <a:t>일</a:t>
                      </a:r>
                      <a:r>
                        <a:rPr lang="en-US" altLang="ko-KR" sz="1050" smtClean="0">
                          <a:solidFill>
                            <a:schemeClr val="tx1"/>
                          </a:solidFill>
                        </a:rPr>
                        <a:t>(</a:t>
                      </a:r>
                      <a:r>
                        <a:rPr lang="ko-KR" altLang="en-US" sz="1050" smtClean="0">
                          <a:solidFill>
                            <a:schemeClr val="tx1"/>
                          </a:solidFill>
                        </a:rPr>
                        <a:t>서울포함</a:t>
                      </a:r>
                      <a:r>
                        <a:rPr lang="en-US" altLang="ko-KR" sz="1050" smtClean="0">
                          <a:solidFill>
                            <a:schemeClr val="tx1"/>
                          </a:solidFill>
                        </a:rPr>
                        <a:t>, 1</a:t>
                      </a:r>
                      <a:r>
                        <a:rPr lang="ko-KR" altLang="en-US" sz="1050" smtClean="0">
                          <a:solidFill>
                            <a:schemeClr val="tx1"/>
                          </a:solidFill>
                        </a:rPr>
                        <a:t>종</a:t>
                      </a:r>
                      <a:r>
                        <a:rPr lang="en-US" altLang="ko-KR" sz="1050" smtClean="0">
                          <a:solidFill>
                            <a:schemeClr val="tx1"/>
                          </a:solidFill>
                        </a:rPr>
                        <a:t>)</a:t>
                      </a:r>
                      <a:endParaRPr lang="en-US" altLang="ko-KR" sz="1200" smtClean="0">
                        <a:solidFill>
                          <a:schemeClr val="tx1"/>
                        </a:solidFill>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30" normalizeH="0" baseline="0" noProof="0" smtClean="0">
                          <a:ln>
                            <a:noFill/>
                          </a:ln>
                          <a:solidFill>
                            <a:srgbClr val="000000"/>
                          </a:solidFill>
                          <a:uLnTx/>
                          <a:uFillTx/>
                          <a:latin typeface="+mn-lt"/>
                          <a:ea typeface="+mn-ea"/>
                          <a:cs typeface="+mn-cs"/>
                        </a:rPr>
                        <a:t>3</a:t>
                      </a:r>
                      <a:r>
                        <a:rPr kumimoji="0" lang="ko-KR" altLang="en-US" sz="1200" b="0" i="0" u="none" strike="noStrike" kern="1200" cap="none" spc="-3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30" normalizeH="0" baseline="0" noProof="0" smtClean="0">
                          <a:ln>
                            <a:noFill/>
                          </a:ln>
                          <a:solidFill>
                            <a:srgbClr val="000000"/>
                          </a:solidFill>
                          <a:uLnTx/>
                          <a:uFillTx/>
                          <a:latin typeface="+mn-lt"/>
                          <a:ea typeface="+mn-ea"/>
                          <a:cs typeface="+mn-cs"/>
                        </a:rPr>
                        <a:t>4</a:t>
                      </a:r>
                      <a:r>
                        <a:rPr kumimoji="0" lang="ko-KR" altLang="en-US" sz="1200" b="0" i="0" u="none" strike="noStrike" kern="1200" cap="none" spc="-30" normalizeH="0" baseline="0" noProof="0" smtClean="0">
                          <a:ln>
                            <a:noFill/>
                          </a:ln>
                          <a:solidFill>
                            <a:srgbClr val="000000"/>
                          </a:solidFill>
                          <a:uLnTx/>
                          <a:uFillTx/>
                          <a:latin typeface="+mn-lt"/>
                          <a:ea typeface="+mn-ea"/>
                          <a:cs typeface="+mn-cs"/>
                        </a:rPr>
                        <a:t>일</a:t>
                      </a:r>
                      <a:r>
                        <a:rPr kumimoji="0" lang="en-US" altLang="ko-KR" sz="1050" b="0" i="0" u="none" strike="noStrike" kern="1200" cap="none" spc="-30" normalizeH="0" baseline="0" noProof="0" smtClean="0">
                          <a:ln>
                            <a:noFill/>
                          </a:ln>
                          <a:solidFill>
                            <a:srgbClr val="000000"/>
                          </a:solidFill>
                          <a:uLnTx/>
                          <a:uFillTx/>
                          <a:latin typeface="+mn-lt"/>
                          <a:ea typeface="+mn-ea"/>
                          <a:cs typeface="+mn-cs"/>
                        </a:rPr>
                        <a:t>(4</a:t>
                      </a:r>
                      <a:r>
                        <a:rPr kumimoji="0" lang="ko-KR" altLang="en-US" sz="1050" b="0" i="0" u="none" strike="noStrike" kern="1200" cap="none" spc="-30" normalizeH="0" baseline="0" noProof="0" smtClean="0">
                          <a:ln>
                            <a:noFill/>
                          </a:ln>
                          <a:solidFill>
                            <a:srgbClr val="000000"/>
                          </a:solidFill>
                          <a:uLnTx/>
                          <a:uFillTx/>
                          <a:latin typeface="+mn-lt"/>
                          <a:ea typeface="+mn-ea"/>
                          <a:cs typeface="+mn-cs"/>
                        </a:rPr>
                        <a:t>종</a:t>
                      </a:r>
                      <a:r>
                        <a:rPr kumimoji="0" lang="en-US" altLang="ko-KR" sz="1050" b="0" i="0" u="none" strike="noStrike" kern="1200" cap="none" spc="-30" normalizeH="0" baseline="0" noProof="0" smtClean="0">
                          <a:ln>
                            <a:noFill/>
                          </a:ln>
                          <a:solidFill>
                            <a:srgbClr val="000000"/>
                          </a:solidFill>
                          <a:uLnTx/>
                          <a:uFillTx/>
                          <a:latin typeface="+mn-lt"/>
                          <a:ea typeface="+mn-ea"/>
                          <a:cs typeface="+mn-cs"/>
                        </a:rPr>
                        <a:t>)</a:t>
                      </a:r>
                      <a:r>
                        <a:rPr kumimoji="0" lang="en-US" altLang="ko-KR" sz="1200" b="0" i="0" u="none" strike="noStrike" kern="1200" cap="none" spc="-30" normalizeH="0" baseline="0" noProof="0" smtClean="0">
                          <a:ln>
                            <a:noFill/>
                          </a:ln>
                          <a:solidFill>
                            <a:srgbClr val="000000"/>
                          </a:solidFill>
                          <a:uLnTx/>
                          <a:uFillTx/>
                          <a:latin typeface="+mn-lt"/>
                          <a:ea typeface="+mn-ea"/>
                          <a:cs typeface="+mn-cs"/>
                        </a:rPr>
                        <a:t>, 4</a:t>
                      </a:r>
                      <a:r>
                        <a:rPr kumimoji="0" lang="ko-KR" altLang="en-US" sz="1200" b="0" i="0" u="none" strike="noStrike" kern="1200" cap="none" spc="-3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30" normalizeH="0" baseline="0" noProof="0" smtClean="0">
                          <a:ln>
                            <a:noFill/>
                          </a:ln>
                          <a:solidFill>
                            <a:srgbClr val="000000"/>
                          </a:solidFill>
                          <a:uLnTx/>
                          <a:uFillTx/>
                          <a:latin typeface="+mn-lt"/>
                          <a:ea typeface="+mn-ea"/>
                          <a:cs typeface="+mn-cs"/>
                        </a:rPr>
                        <a:t>5</a:t>
                      </a:r>
                      <a:r>
                        <a:rPr kumimoji="0" lang="ko-KR" altLang="en-US" sz="1200" b="0" i="0" u="none" strike="noStrike" kern="1200" cap="none" spc="-30" normalizeH="0" baseline="0" noProof="0" smtClean="0">
                          <a:ln>
                            <a:noFill/>
                          </a:ln>
                          <a:solidFill>
                            <a:srgbClr val="000000"/>
                          </a:solidFill>
                          <a:uLnTx/>
                          <a:uFillTx/>
                          <a:latin typeface="+mn-lt"/>
                          <a:ea typeface="+mn-ea"/>
                          <a:cs typeface="+mn-cs"/>
                        </a:rPr>
                        <a:t>일</a:t>
                      </a:r>
                      <a:r>
                        <a:rPr kumimoji="0" lang="en-US" altLang="ko-KR" sz="1050" b="0" i="0" u="none" strike="noStrike" kern="1200" cap="none" spc="-30" normalizeH="0" baseline="0" noProof="0" smtClean="0">
                          <a:ln>
                            <a:noFill/>
                          </a:ln>
                          <a:solidFill>
                            <a:srgbClr val="000000"/>
                          </a:solidFill>
                          <a:uLnTx/>
                          <a:uFillTx/>
                          <a:latin typeface="+mn-lt"/>
                          <a:ea typeface="+mn-ea"/>
                          <a:cs typeface="+mn-cs"/>
                        </a:rPr>
                        <a:t>(2</a:t>
                      </a:r>
                      <a:r>
                        <a:rPr kumimoji="0" lang="ko-KR" altLang="en-US" sz="1050" b="0" i="0" u="none" strike="noStrike" kern="1200" cap="none" spc="-30" normalizeH="0" baseline="0" noProof="0" smtClean="0">
                          <a:ln>
                            <a:noFill/>
                          </a:ln>
                          <a:solidFill>
                            <a:srgbClr val="000000"/>
                          </a:solidFill>
                          <a:uLnTx/>
                          <a:uFillTx/>
                          <a:latin typeface="+mn-lt"/>
                          <a:ea typeface="+mn-ea"/>
                          <a:cs typeface="+mn-cs"/>
                        </a:rPr>
                        <a:t>종</a:t>
                      </a:r>
                      <a:r>
                        <a:rPr kumimoji="0" lang="en-US" altLang="ko-KR" sz="1050" b="0" i="0" u="none" strike="noStrike" kern="1200" cap="none" spc="-30" normalizeH="0" baseline="0" noProof="0" smtClean="0">
                          <a:ln>
                            <a:noFill/>
                          </a:ln>
                          <a:solidFill>
                            <a:srgbClr val="000000"/>
                          </a:solidFill>
                          <a:uLnTx/>
                          <a:uFillTx/>
                          <a:latin typeface="+mn-lt"/>
                          <a:ea typeface="+mn-ea"/>
                          <a:cs typeface="+mn-cs"/>
                        </a:rPr>
                        <a:t>)</a:t>
                      </a:r>
                      <a:endParaRPr lang="ko-KR" altLang="en-US" sz="1200" spc="-30" baseline="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bl>
          </a:graphicData>
        </a:graphic>
      </p:graphicFrame>
      <p:pic>
        <p:nvPicPr>
          <p:cNvPr id="67" name="그림 6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448" y="4941168"/>
            <a:ext cx="900000" cy="598488"/>
          </a:xfrm>
          <a:prstGeom prst="rect">
            <a:avLst/>
          </a:prstGeom>
          <a:ln>
            <a:solidFill>
              <a:schemeClr val="bg1">
                <a:lumMod val="75000"/>
              </a:schemeClr>
            </a:solidFill>
          </a:ln>
        </p:spPr>
      </p:pic>
      <p:pic>
        <p:nvPicPr>
          <p:cNvPr id="68" name="그림 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448" y="3555086"/>
            <a:ext cx="900000" cy="673088"/>
          </a:xfrm>
          <a:prstGeom prst="rect">
            <a:avLst/>
          </a:prstGeom>
          <a:ln>
            <a:solidFill>
              <a:schemeClr val="bg1">
                <a:lumMod val="75000"/>
              </a:schemeClr>
            </a:solidFill>
          </a:ln>
        </p:spPr>
      </p:pic>
      <p:sp>
        <p:nvSpPr>
          <p:cNvPr id="12" name="TextBox 11"/>
          <p:cNvSpPr txBox="1"/>
          <p:nvPr/>
        </p:nvSpPr>
        <p:spPr>
          <a:xfrm>
            <a:off x="6352738" y="3537012"/>
            <a:ext cx="1116233"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코스 기간 구분</a:t>
            </a:r>
          </a:p>
        </p:txBody>
      </p:sp>
      <p:sp>
        <p:nvSpPr>
          <p:cNvPr id="13" name="TextBox 12"/>
          <p:cNvSpPr txBox="1"/>
          <p:nvPr/>
        </p:nvSpPr>
        <p:spPr>
          <a:xfrm>
            <a:off x="4772554" y="4805936"/>
            <a:ext cx="199285" cy="72000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일 차</a:t>
            </a:r>
          </a:p>
        </p:txBody>
      </p:sp>
      <p:cxnSp>
        <p:nvCxnSpPr>
          <p:cNvPr id="9" name="직선 연결선 8"/>
          <p:cNvCxnSpPr/>
          <p:nvPr/>
        </p:nvCxnSpPr>
        <p:spPr>
          <a:xfrm>
            <a:off x="5551377"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6134619"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직선 연결선 50"/>
          <p:cNvCxnSpPr/>
          <p:nvPr/>
        </p:nvCxnSpPr>
        <p:spPr>
          <a:xfrm>
            <a:off x="6717861"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551377"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000000"/>
                </a:solidFill>
                <a:cs typeface="Arial Narrow" pitchFamily="34" charset="0"/>
              </a:rPr>
              <a:t>무박</a:t>
            </a:r>
          </a:p>
        </p:txBody>
      </p:sp>
      <p:sp>
        <p:nvSpPr>
          <p:cNvPr id="62" name="TextBox 61"/>
          <p:cNvSpPr txBox="1"/>
          <p:nvPr/>
        </p:nvSpPr>
        <p:spPr>
          <a:xfrm>
            <a:off x="6717861"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2</a:t>
            </a:r>
            <a:r>
              <a:rPr lang="ko-KR" altLang="en-US" sz="1200">
                <a:solidFill>
                  <a:srgbClr val="000000"/>
                </a:solidFill>
                <a:cs typeface="Arial Narrow" pitchFamily="34" charset="0"/>
              </a:rPr>
              <a:t>박</a:t>
            </a:r>
            <a:r>
              <a:rPr lang="en-US" altLang="ko-KR" sz="1200">
                <a:solidFill>
                  <a:srgbClr val="000000"/>
                </a:solidFill>
                <a:cs typeface="Arial Narrow" pitchFamily="34" charset="0"/>
              </a:rPr>
              <a:t>3</a:t>
            </a:r>
            <a:r>
              <a:rPr lang="ko-KR" altLang="en-US" sz="1200">
                <a:solidFill>
                  <a:srgbClr val="000000"/>
                </a:solidFill>
                <a:cs typeface="Arial Narrow" pitchFamily="34" charset="0"/>
              </a:rPr>
              <a:t>일</a:t>
            </a:r>
          </a:p>
        </p:txBody>
      </p:sp>
      <p:sp>
        <p:nvSpPr>
          <p:cNvPr id="63" name="TextBox 62"/>
          <p:cNvSpPr txBox="1"/>
          <p:nvPr/>
        </p:nvSpPr>
        <p:spPr>
          <a:xfrm>
            <a:off x="6134619"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1</a:t>
            </a:r>
            <a:r>
              <a:rPr lang="ko-KR" altLang="en-US" sz="1200">
                <a:solidFill>
                  <a:srgbClr val="000000"/>
                </a:solidFill>
                <a:cs typeface="Arial Narrow" pitchFamily="34" charset="0"/>
              </a:rPr>
              <a:t>박</a:t>
            </a:r>
            <a:r>
              <a:rPr lang="en-US" altLang="ko-KR" sz="1200">
                <a:solidFill>
                  <a:srgbClr val="000000"/>
                </a:solidFill>
                <a:cs typeface="Arial Narrow" pitchFamily="34" charset="0"/>
              </a:rPr>
              <a:t>2</a:t>
            </a:r>
            <a:r>
              <a:rPr lang="ko-KR" altLang="en-US" sz="1200">
                <a:solidFill>
                  <a:srgbClr val="000000"/>
                </a:solidFill>
                <a:cs typeface="Arial Narrow" pitchFamily="34" charset="0"/>
              </a:rPr>
              <a:t>일</a:t>
            </a:r>
          </a:p>
        </p:txBody>
      </p:sp>
      <p:cxnSp>
        <p:nvCxnSpPr>
          <p:cNvPr id="69" name="직선 연결선 68"/>
          <p:cNvCxnSpPr/>
          <p:nvPr/>
        </p:nvCxnSpPr>
        <p:spPr>
          <a:xfrm>
            <a:off x="7301103"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301103"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3</a:t>
            </a:r>
            <a:r>
              <a:rPr lang="ko-KR" altLang="en-US" sz="1200">
                <a:solidFill>
                  <a:srgbClr val="000000"/>
                </a:solidFill>
                <a:cs typeface="Arial Narrow" pitchFamily="34" charset="0"/>
              </a:rPr>
              <a:t>박</a:t>
            </a:r>
            <a:r>
              <a:rPr lang="en-US" altLang="ko-KR" sz="1200">
                <a:solidFill>
                  <a:srgbClr val="000000"/>
                </a:solidFill>
                <a:cs typeface="Arial Narrow" pitchFamily="34" charset="0"/>
              </a:rPr>
              <a:t>4</a:t>
            </a:r>
            <a:r>
              <a:rPr lang="ko-KR" altLang="en-US" sz="1200">
                <a:solidFill>
                  <a:srgbClr val="000000"/>
                </a:solidFill>
                <a:cs typeface="Arial Narrow" pitchFamily="34" charset="0"/>
              </a:rPr>
              <a:t>일</a:t>
            </a:r>
          </a:p>
        </p:txBody>
      </p:sp>
      <p:cxnSp>
        <p:nvCxnSpPr>
          <p:cNvPr id="54" name="직선 연결선 53"/>
          <p:cNvCxnSpPr/>
          <p:nvPr/>
        </p:nvCxnSpPr>
        <p:spPr>
          <a:xfrm rot="5400000">
            <a:off x="5309968" y="4247954"/>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5058498" y="4179352"/>
            <a:ext cx="403792" cy="12092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1</a:t>
            </a:r>
            <a:r>
              <a:rPr lang="ko-KR" altLang="en-US" sz="1200">
                <a:solidFill>
                  <a:srgbClr val="000000"/>
                </a:solidFill>
                <a:cs typeface="Arial Narrow" pitchFamily="34" charset="0"/>
              </a:rPr>
              <a:t>일차</a:t>
            </a:r>
          </a:p>
        </p:txBody>
      </p:sp>
      <p:cxnSp>
        <p:nvCxnSpPr>
          <p:cNvPr id="74" name="직선 연결선 73"/>
          <p:cNvCxnSpPr/>
          <p:nvPr/>
        </p:nvCxnSpPr>
        <p:spPr>
          <a:xfrm rot="5400000">
            <a:off x="5309968" y="4717708"/>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5058498" y="4632825"/>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2</a:t>
            </a:r>
            <a:r>
              <a:rPr lang="ko-KR" altLang="en-US" sz="1200">
                <a:solidFill>
                  <a:srgbClr val="000000"/>
                </a:solidFill>
                <a:cs typeface="Arial Narrow" pitchFamily="34" charset="0"/>
              </a:rPr>
              <a:t>일차</a:t>
            </a:r>
          </a:p>
        </p:txBody>
      </p:sp>
      <p:cxnSp>
        <p:nvCxnSpPr>
          <p:cNvPr id="77" name="직선 연결선 76"/>
          <p:cNvCxnSpPr/>
          <p:nvPr/>
        </p:nvCxnSpPr>
        <p:spPr>
          <a:xfrm rot="5400000">
            <a:off x="5309968" y="5187462"/>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058498" y="5106650"/>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3</a:t>
            </a:r>
            <a:r>
              <a:rPr lang="ko-KR" altLang="en-US" sz="1200">
                <a:solidFill>
                  <a:srgbClr val="000000"/>
                </a:solidFill>
                <a:cs typeface="Arial Narrow" pitchFamily="34" charset="0"/>
              </a:rPr>
              <a:t>일차</a:t>
            </a:r>
          </a:p>
        </p:txBody>
      </p:sp>
      <p:cxnSp>
        <p:nvCxnSpPr>
          <p:cNvPr id="80" name="직선 연결선 79"/>
          <p:cNvCxnSpPr/>
          <p:nvPr/>
        </p:nvCxnSpPr>
        <p:spPr>
          <a:xfrm rot="5400000">
            <a:off x="5309968" y="5657216"/>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5058498" y="5580475"/>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4</a:t>
            </a:r>
            <a:r>
              <a:rPr lang="ko-KR" altLang="en-US" sz="1200">
                <a:solidFill>
                  <a:srgbClr val="000000"/>
                </a:solidFill>
                <a:cs typeface="Arial Narrow" pitchFamily="34" charset="0"/>
              </a:rPr>
              <a:t>일차</a:t>
            </a:r>
          </a:p>
        </p:txBody>
      </p:sp>
      <p:cxnSp>
        <p:nvCxnSpPr>
          <p:cNvPr id="105" name="직선 연결선 104"/>
          <p:cNvCxnSpPr/>
          <p:nvPr/>
        </p:nvCxnSpPr>
        <p:spPr>
          <a:xfrm>
            <a:off x="5511537" y="4466550"/>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직선 연결선 105"/>
          <p:cNvCxnSpPr/>
          <p:nvPr/>
        </p:nvCxnSpPr>
        <p:spPr>
          <a:xfrm>
            <a:off x="5511537" y="4940375"/>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직선 연결선 106"/>
          <p:cNvCxnSpPr/>
          <p:nvPr/>
        </p:nvCxnSpPr>
        <p:spPr>
          <a:xfrm>
            <a:off x="5511537" y="5414200"/>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직선 연결선 107"/>
          <p:cNvCxnSpPr/>
          <p:nvPr/>
        </p:nvCxnSpPr>
        <p:spPr>
          <a:xfrm>
            <a:off x="5511537" y="6361846"/>
            <a:ext cx="2844000" cy="0"/>
          </a:xfrm>
          <a:prstGeom prst="line">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직선 연결선 108"/>
          <p:cNvCxnSpPr/>
          <p:nvPr/>
        </p:nvCxnSpPr>
        <p:spPr>
          <a:xfrm flipH="1">
            <a:off x="6091458" y="4011842"/>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직선 연결선 110"/>
          <p:cNvCxnSpPr/>
          <p:nvPr/>
        </p:nvCxnSpPr>
        <p:spPr>
          <a:xfrm flipH="1">
            <a:off x="6674700" y="4011842"/>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직선 연결선 111"/>
          <p:cNvCxnSpPr/>
          <p:nvPr/>
        </p:nvCxnSpPr>
        <p:spPr>
          <a:xfrm flipH="1">
            <a:off x="7257942" y="4011842"/>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직선 연결선 112"/>
          <p:cNvCxnSpPr/>
          <p:nvPr/>
        </p:nvCxnSpPr>
        <p:spPr>
          <a:xfrm flipH="1">
            <a:off x="8424428" y="4011842"/>
            <a:ext cx="0" cy="2304000"/>
          </a:xfrm>
          <a:prstGeom prst="line">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 name="직선 연결선 52"/>
          <p:cNvCxnSpPr/>
          <p:nvPr/>
        </p:nvCxnSpPr>
        <p:spPr>
          <a:xfrm rot="5400000">
            <a:off x="5309968" y="6126970"/>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5058498" y="6054300"/>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5</a:t>
            </a:r>
            <a:r>
              <a:rPr lang="ko-KR" altLang="en-US" sz="1200">
                <a:solidFill>
                  <a:srgbClr val="000000"/>
                </a:solidFill>
                <a:cs typeface="Arial Narrow" pitchFamily="34" charset="0"/>
              </a:rPr>
              <a:t>일차</a:t>
            </a:r>
          </a:p>
        </p:txBody>
      </p:sp>
      <p:cxnSp>
        <p:nvCxnSpPr>
          <p:cNvPr id="58" name="직선 연결선 57"/>
          <p:cNvCxnSpPr/>
          <p:nvPr/>
        </p:nvCxnSpPr>
        <p:spPr>
          <a:xfrm>
            <a:off x="7884345"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7884345"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4</a:t>
            </a:r>
            <a:r>
              <a:rPr lang="ko-KR" altLang="en-US" sz="1200">
                <a:solidFill>
                  <a:srgbClr val="000000"/>
                </a:solidFill>
                <a:cs typeface="Arial Narrow" pitchFamily="34" charset="0"/>
              </a:rPr>
              <a:t>박</a:t>
            </a:r>
            <a:r>
              <a:rPr lang="en-US" altLang="ko-KR" sz="1200">
                <a:solidFill>
                  <a:srgbClr val="000000"/>
                </a:solidFill>
                <a:cs typeface="Arial Narrow" pitchFamily="34" charset="0"/>
              </a:rPr>
              <a:t>5</a:t>
            </a:r>
            <a:r>
              <a:rPr lang="ko-KR" altLang="en-US" sz="1200">
                <a:solidFill>
                  <a:srgbClr val="000000"/>
                </a:solidFill>
                <a:cs typeface="Arial Narrow" pitchFamily="34" charset="0"/>
              </a:rPr>
              <a:t>일</a:t>
            </a:r>
          </a:p>
        </p:txBody>
      </p:sp>
      <p:cxnSp>
        <p:nvCxnSpPr>
          <p:cNvPr id="60" name="직선 연결선 59"/>
          <p:cNvCxnSpPr/>
          <p:nvPr/>
        </p:nvCxnSpPr>
        <p:spPr>
          <a:xfrm flipH="1">
            <a:off x="7841184" y="4039206"/>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직선 연결선 60"/>
          <p:cNvCxnSpPr/>
          <p:nvPr/>
        </p:nvCxnSpPr>
        <p:spPr>
          <a:xfrm>
            <a:off x="5511537" y="5888025"/>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직사각형 5"/>
          <p:cNvSpPr/>
          <p:nvPr/>
        </p:nvSpPr>
        <p:spPr>
          <a:xfrm>
            <a:off x="6162961" y="4108731"/>
            <a:ext cx="180000" cy="736764"/>
          </a:xfrm>
          <a:prstGeom prst="rect">
            <a:avLst/>
          </a:prstGeom>
          <a:pattFill prst="smCheck">
            <a:fgClr>
              <a:srgbClr val="99CCFF"/>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1" name="직사각형 70"/>
          <p:cNvSpPr/>
          <p:nvPr/>
        </p:nvSpPr>
        <p:spPr>
          <a:xfrm>
            <a:off x="6419048" y="4108731"/>
            <a:ext cx="180000" cy="736764"/>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5" name="직사각형 84"/>
          <p:cNvSpPr/>
          <p:nvPr/>
        </p:nvSpPr>
        <p:spPr>
          <a:xfrm>
            <a:off x="5836199" y="4108731"/>
            <a:ext cx="180000" cy="288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7" name="직사각형 86"/>
          <p:cNvSpPr/>
          <p:nvPr/>
        </p:nvSpPr>
        <p:spPr>
          <a:xfrm>
            <a:off x="6745810" y="4108731"/>
            <a:ext cx="180000" cy="1224000"/>
          </a:xfrm>
          <a:prstGeom prst="rect">
            <a:avLst/>
          </a:prstGeom>
          <a:pattFill prst="smCheck">
            <a:fgClr>
              <a:srgbClr val="99CCFF"/>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8" name="직사각형 87"/>
          <p:cNvSpPr/>
          <p:nvPr/>
        </p:nvSpPr>
        <p:spPr>
          <a:xfrm>
            <a:off x="7001897" y="4108731"/>
            <a:ext cx="180000" cy="1224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1" name="직사각형 90"/>
          <p:cNvSpPr/>
          <p:nvPr/>
        </p:nvSpPr>
        <p:spPr>
          <a:xfrm>
            <a:off x="7584746" y="4108731"/>
            <a:ext cx="180000" cy="1692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4" name="직사각형 93"/>
          <p:cNvSpPr/>
          <p:nvPr/>
        </p:nvSpPr>
        <p:spPr>
          <a:xfrm>
            <a:off x="8167597" y="4108731"/>
            <a:ext cx="180000" cy="2160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5" name="직사각형 94"/>
          <p:cNvSpPr/>
          <p:nvPr/>
        </p:nvSpPr>
        <p:spPr>
          <a:xfrm>
            <a:off x="5314151" y="3192520"/>
            <a:ext cx="144000" cy="144000"/>
          </a:xfrm>
          <a:prstGeom prst="rect">
            <a:avLst/>
          </a:prstGeom>
          <a:pattFill prst="smCheck">
            <a:fgClr>
              <a:srgbClr val="99CCFF"/>
            </a:fgClr>
            <a:bgClr>
              <a:schemeClr val="bg1"/>
            </a:bgClr>
          </a:patt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6" name="직사각형 95"/>
          <p:cNvSpPr/>
          <p:nvPr/>
        </p:nvSpPr>
        <p:spPr>
          <a:xfrm>
            <a:off x="6831287" y="3192520"/>
            <a:ext cx="144000" cy="144000"/>
          </a:xfrm>
          <a:prstGeom prst="rect">
            <a:avLst/>
          </a:prstGeom>
          <a:pattFill prst="wdUpDiag">
            <a:fgClr>
              <a:srgbClr val="FFCCCC"/>
            </a:fgClr>
            <a:bgClr>
              <a:schemeClr val="bg1"/>
            </a:bgClr>
          </a:patt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7" name="TextBox 96"/>
          <p:cNvSpPr txBox="1"/>
          <p:nvPr/>
        </p:nvSpPr>
        <p:spPr>
          <a:xfrm>
            <a:off x="5514913" y="3192520"/>
            <a:ext cx="1116000" cy="14400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내국인 관광객 코스</a:t>
            </a:r>
          </a:p>
        </p:txBody>
      </p:sp>
      <p:sp>
        <p:nvSpPr>
          <p:cNvPr id="98" name="TextBox 97"/>
          <p:cNvSpPr txBox="1"/>
          <p:nvPr/>
        </p:nvSpPr>
        <p:spPr>
          <a:xfrm>
            <a:off x="7020396" y="3192520"/>
            <a:ext cx="1116000" cy="14400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중국인 관광객 코스</a:t>
            </a:r>
          </a:p>
        </p:txBody>
      </p:sp>
      <p:sp>
        <p:nvSpPr>
          <p:cNvPr id="99" name="TextBox 98"/>
          <p:cNvSpPr txBox="1"/>
          <p:nvPr/>
        </p:nvSpPr>
        <p:spPr>
          <a:xfrm>
            <a:off x="449193" y="6402074"/>
            <a:ext cx="8352000" cy="16619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 </a:t>
            </a:r>
            <a:r>
              <a:rPr lang="ko-KR" altLang="en-US" sz="900">
                <a:solidFill>
                  <a:srgbClr val="000000"/>
                </a:solidFill>
              </a:rPr>
              <a:t>주요 상품은 각 사의 상품 중 조회 수 상위에 있는 상품으로 선정</a:t>
            </a:r>
            <a:endParaRPr lang="en-US" altLang="ko-KR" sz="900">
              <a:solidFill>
                <a:srgbClr val="000000"/>
              </a:solidFill>
            </a:endParaRPr>
          </a:p>
        </p:txBody>
      </p:sp>
    </p:spTree>
    <p:extLst>
      <p:ext uri="{BB962C8B-B14F-4D97-AF65-F5344CB8AC3E}">
        <p14:creationId xmlns:p14="http://schemas.microsoft.com/office/powerpoint/2010/main" val="358638624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자유형 66"/>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내국인 관광객       </a:t>
            </a:r>
            <a:r>
              <a:rPr lang="en-US" altLang="ko-KR" smtClean="0"/>
              <a:t>1</a:t>
            </a:r>
            <a:r>
              <a:rPr lang="ko-KR" altLang="en-US" smtClean="0"/>
              <a:t>박 </a:t>
            </a:r>
            <a:r>
              <a:rPr lang="en-US" altLang="ko-KR" smtClean="0"/>
              <a:t>2</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박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일 코스는 판매 상품 종류가 소수로</a:t>
            </a:r>
            <a:r>
              <a:rPr lang="en-US" altLang="ko-KR" sz="1600" spc="50">
                <a:ln>
                  <a:solidFill>
                    <a:prstClr val="black">
                      <a:alpha val="20000"/>
                    </a:prstClr>
                  </a:solidFill>
                </a:ln>
                <a:solidFill>
                  <a:srgbClr val="000000"/>
                </a:solidFill>
                <a:latin typeface="NOVA Bold"/>
                <a:ea typeface="NOVA Bold"/>
                <a:cs typeface="Arial" pitchFamily="34" charset="0"/>
              </a:rPr>
              <a:t>, 1</a:t>
            </a:r>
            <a:r>
              <a:rPr lang="ko-KR" altLang="en-US" sz="1600" spc="50">
                <a:ln>
                  <a:solidFill>
                    <a:prstClr val="black">
                      <a:alpha val="20000"/>
                    </a:prstClr>
                  </a:solidFill>
                </a:ln>
                <a:solidFill>
                  <a:srgbClr val="000000"/>
                </a:solidFill>
                <a:latin typeface="NOVA Bold"/>
                <a:ea typeface="NOVA Bold"/>
                <a:cs typeface="Arial" pitchFamily="34" charset="0"/>
              </a:rPr>
              <a:t>일차는 서남부를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일차는 동부 위주로 관광을 진행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3" name="자유형 212"/>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no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no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8" name="자유형 217"/>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1" name="자유형 220"/>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99285"/>
          </a:xfrm>
          <a:prstGeom prst="rect">
            <a:avLst/>
          </a:prstGeom>
          <a:noFill/>
          <a:ln w="9525">
            <a:noFill/>
          </a:ln>
        </p:spPr>
        <p:txBody>
          <a:bodyPr vert="horz" wrap="square" lIns="0" tIns="0" rIns="0" bIns="0" rtlCol="0">
            <a:spAutoFit/>
          </a:bodyPr>
          <a:lstStyle>
            <a:defPPr>
              <a:defRPr lang="ko-KR"/>
            </a:defPPr>
            <a:lvl1pPr marL="0" algn="ctr" defTabSz="914400" rtl="0" eaLnBrk="1" latinLnBrk="1" hangingPunct="1">
              <a:lnSpc>
                <a:spcPct val="90000"/>
              </a:lnSpc>
              <a:spcBef>
                <a:spcPts val="400"/>
              </a:spcBef>
              <a:buClr>
                <a:srgbClr val="000000"/>
              </a:buClr>
              <a:buSzTx/>
              <a:defRPr sz="1400" b="0" kern="1200">
                <a:solidFill>
                  <a:schemeClr val="bg1">
                    <a:lumMod val="75000"/>
                  </a:schemeClr>
                </a:solidFill>
                <a:latin typeface="+mj-ea"/>
                <a:ea typeface="+mj-ea"/>
                <a:cs typeface="Arial Narrow"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solidFill>
                  <a:srgbClr val="FFFFFF">
                    <a:lumMod val="75000"/>
                  </a:srgbClr>
                </a:solidFill>
              </a:rPr>
              <a:t>추자면</a:t>
            </a:r>
          </a:p>
        </p:txBody>
      </p:sp>
      <p:sp>
        <p:nvSpPr>
          <p:cNvPr id="230" name="TextBox 229"/>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2" name="TextBox 231"/>
          <p:cNvSpPr txBox="1"/>
          <p:nvPr/>
        </p:nvSpPr>
        <p:spPr>
          <a:xfrm>
            <a:off x="1717563" y="467250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33" name="TextBox 232"/>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2018818" y="388597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699792" y="3501008"/>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36" name="TextBox 235"/>
          <p:cNvSpPr txBox="1"/>
          <p:nvPr/>
        </p:nvSpPr>
        <p:spPr>
          <a:xfrm>
            <a:off x="3418322" y="359653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7" name="TextBox 236"/>
          <p:cNvSpPr txBox="1"/>
          <p:nvPr/>
        </p:nvSpPr>
        <p:spPr>
          <a:xfrm>
            <a:off x="4351462" y="304905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97828" y="48598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417109" y="4729177"/>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43" name="타원 242"/>
          <p:cNvSpPr/>
          <p:nvPr/>
        </p:nvSpPr>
        <p:spPr>
          <a:xfrm>
            <a:off x="3922447"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4" name="직사각형 243"/>
          <p:cNvSpPr/>
          <p:nvPr/>
        </p:nvSpPr>
        <p:spPr>
          <a:xfrm>
            <a:off x="5029812"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5" name="TextBox 244"/>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46" name="TextBox 245"/>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75" name="직사각형 74"/>
          <p:cNvSpPr/>
          <p:nvPr/>
        </p:nvSpPr>
        <p:spPr>
          <a:xfrm>
            <a:off x="5460752" y="39590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6" name="TextBox 75"/>
          <p:cNvSpPr txBox="1"/>
          <p:nvPr/>
        </p:nvSpPr>
        <p:spPr>
          <a:xfrm>
            <a:off x="5461579" y="412428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7" name="직사각형 76"/>
          <p:cNvSpPr/>
          <p:nvPr/>
        </p:nvSpPr>
        <p:spPr>
          <a:xfrm>
            <a:off x="5492515" y="374929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8" name="TextBox 77"/>
          <p:cNvSpPr txBox="1"/>
          <p:nvPr/>
        </p:nvSpPr>
        <p:spPr>
          <a:xfrm>
            <a:off x="5458020" y="3809119"/>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9" name="직사각형 78"/>
          <p:cNvSpPr/>
          <p:nvPr/>
        </p:nvSpPr>
        <p:spPr>
          <a:xfrm>
            <a:off x="4608506" y="33763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0" name="TextBox 79"/>
          <p:cNvSpPr txBox="1"/>
          <p:nvPr/>
        </p:nvSpPr>
        <p:spPr>
          <a:xfrm>
            <a:off x="4463874" y="352025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울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1" name="직사각형 80"/>
          <p:cNvSpPr/>
          <p:nvPr/>
        </p:nvSpPr>
        <p:spPr>
          <a:xfrm>
            <a:off x="2784619" y="314741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2" name="TextBox 81"/>
          <p:cNvSpPr txBox="1"/>
          <p:nvPr/>
        </p:nvSpPr>
        <p:spPr>
          <a:xfrm>
            <a:off x="2735884" y="312303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91" name="타원 90"/>
          <p:cNvSpPr/>
          <p:nvPr/>
        </p:nvSpPr>
        <p:spPr>
          <a:xfrm>
            <a:off x="2761440" y="545478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2" name="TextBox 91"/>
          <p:cNvSpPr txBox="1"/>
          <p:nvPr/>
        </p:nvSpPr>
        <p:spPr>
          <a:xfrm>
            <a:off x="2650647" y="5263766"/>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상절리</a:t>
            </a:r>
          </a:p>
        </p:txBody>
      </p:sp>
      <p:sp>
        <p:nvSpPr>
          <p:cNvPr id="93" name="TextBox 92"/>
          <p:cNvSpPr txBox="1"/>
          <p:nvPr/>
        </p:nvSpPr>
        <p:spPr>
          <a:xfrm>
            <a:off x="1430359" y="5215850"/>
            <a:ext cx="124977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산방산유람선</a:t>
            </a:r>
          </a:p>
        </p:txBody>
      </p:sp>
      <p:sp>
        <p:nvSpPr>
          <p:cNvPr id="94" name="타원 93"/>
          <p:cNvSpPr/>
          <p:nvPr/>
        </p:nvSpPr>
        <p:spPr>
          <a:xfrm>
            <a:off x="1845222" y="538185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5" name="타원 94"/>
          <p:cNvSpPr/>
          <p:nvPr/>
        </p:nvSpPr>
        <p:spPr>
          <a:xfrm>
            <a:off x="1889013" y="488211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6" name="TextBox 95"/>
          <p:cNvSpPr txBox="1"/>
          <p:nvPr/>
        </p:nvSpPr>
        <p:spPr>
          <a:xfrm>
            <a:off x="1475700" y="5017010"/>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멜리아힐</a:t>
            </a:r>
          </a:p>
        </p:txBody>
      </p:sp>
      <p:sp>
        <p:nvSpPr>
          <p:cNvPr id="97" name="타원 96"/>
          <p:cNvSpPr/>
          <p:nvPr/>
        </p:nvSpPr>
        <p:spPr>
          <a:xfrm>
            <a:off x="1367700" y="538688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8" name="TextBox 97"/>
          <p:cNvSpPr txBox="1"/>
          <p:nvPr/>
        </p:nvSpPr>
        <p:spPr>
          <a:xfrm>
            <a:off x="1079700" y="5518103"/>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곶자왈</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도립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99" name="직사각형 98"/>
          <p:cNvSpPr/>
          <p:nvPr/>
        </p:nvSpPr>
        <p:spPr>
          <a:xfrm>
            <a:off x="4334948" y="458056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0" name="TextBox 99"/>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6" name="차트 5"/>
          <p:cNvGraphicFramePr/>
          <p:nvPr>
            <p:extLst>
              <p:ext uri="{D42A27DB-BD31-4B8C-83A1-F6EECF244321}">
                <p14:modId xmlns:p14="http://schemas.microsoft.com/office/powerpoint/2010/main" val="1336265529"/>
              </p:ext>
            </p:extLst>
          </p:nvPr>
        </p:nvGraphicFramePr>
        <p:xfrm>
          <a:off x="6804248" y="2280012"/>
          <a:ext cx="2268252" cy="3813284"/>
        </p:xfrm>
        <a:graphic>
          <a:graphicData uri="http://schemas.openxmlformats.org/drawingml/2006/chart">
            <c:chart xmlns:c="http://schemas.openxmlformats.org/drawingml/2006/chart" xmlns:r="http://schemas.openxmlformats.org/officeDocument/2006/relationships" r:id="rId3"/>
          </a:graphicData>
        </a:graphic>
      </p:graphicFrame>
      <p:sp>
        <p:nvSpPr>
          <p:cNvPr id="66" name="TextBox 65"/>
          <p:cNvSpPr txBox="1"/>
          <p:nvPr/>
        </p:nvSpPr>
        <p:spPr>
          <a:xfrm>
            <a:off x="449193" y="6201308"/>
            <a:ext cx="8352000" cy="33239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국내 </a:t>
            </a:r>
            <a:r>
              <a:rPr lang="en-US" altLang="ko-KR" sz="900">
                <a:solidFill>
                  <a:srgbClr val="000000"/>
                </a:solidFill>
              </a:rPr>
              <a:t>3</a:t>
            </a:r>
            <a:r>
              <a:rPr lang="ko-KR" altLang="en-US" sz="900">
                <a:solidFill>
                  <a:srgbClr val="000000"/>
                </a:solidFill>
              </a:rPr>
              <a:t>개 대형 여행사 주요 상품 중 유일한 모두투어 </a:t>
            </a:r>
            <a:r>
              <a:rPr lang="en-US" altLang="ko-KR" sz="900">
                <a:solidFill>
                  <a:srgbClr val="000000"/>
                </a:solidFill>
              </a:rPr>
              <a:t>1</a:t>
            </a:r>
            <a:r>
              <a:rPr lang="ko-KR" altLang="en-US" sz="900">
                <a:solidFill>
                  <a:srgbClr val="000000"/>
                </a:solidFill>
              </a:rPr>
              <a:t>박 </a:t>
            </a:r>
            <a:r>
              <a:rPr lang="en-US" altLang="ko-KR" sz="900">
                <a:solidFill>
                  <a:srgbClr val="000000"/>
                </a:solidFill>
              </a:rPr>
              <a:t>2</a:t>
            </a:r>
            <a:r>
              <a:rPr lang="ko-KR" altLang="en-US" sz="900">
                <a:solidFill>
                  <a:srgbClr val="000000"/>
                </a:solidFill>
              </a:rPr>
              <a:t>일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쇼핑 코스</a:t>
            </a:r>
            <a:r>
              <a:rPr lang="en-US" altLang="ko-KR" sz="900">
                <a:solidFill>
                  <a:srgbClr val="000000"/>
                </a:solidFill>
              </a:rPr>
              <a:t>(</a:t>
            </a:r>
            <a:r>
              <a:rPr lang="ko-KR" altLang="en-US" sz="900">
                <a:solidFill>
                  <a:srgbClr val="000000"/>
                </a:solidFill>
              </a:rPr>
              <a:t>농수산물센터</a:t>
            </a:r>
            <a:r>
              <a:rPr lang="en-US" altLang="ko-KR" sz="900">
                <a:solidFill>
                  <a:srgbClr val="000000"/>
                </a:solidFill>
              </a:rPr>
              <a:t>, </a:t>
            </a:r>
            <a:r>
              <a:rPr lang="ko-KR" altLang="en-US" sz="900">
                <a:solidFill>
                  <a:srgbClr val="000000"/>
                </a:solidFill>
              </a:rPr>
              <a:t>관광농원</a:t>
            </a:r>
            <a:r>
              <a:rPr lang="en-US" altLang="ko-KR" sz="900">
                <a:solidFill>
                  <a:srgbClr val="000000"/>
                </a:solidFill>
              </a:rPr>
              <a:t>)</a:t>
            </a:r>
            <a:r>
              <a:rPr lang="ko-KR" altLang="en-US" sz="900">
                <a:solidFill>
                  <a:srgbClr val="000000"/>
                </a:solidFill>
              </a:rPr>
              <a:t>과 승마체험장은 표시하지 않음</a:t>
            </a:r>
            <a:endParaRPr lang="en-US" altLang="ko-KR" sz="900">
              <a:solidFill>
                <a:srgbClr val="000000"/>
              </a:solidFill>
              <a:sym typeface="Wingdings 2"/>
            </a:endParaRPr>
          </a:p>
        </p:txBody>
      </p:sp>
      <p:sp>
        <p:nvSpPr>
          <p:cNvPr id="5" name="TextBox 4"/>
          <p:cNvSpPr txBox="1"/>
          <p:nvPr/>
        </p:nvSpPr>
        <p:spPr>
          <a:xfrm>
            <a:off x="6488022" y="3023847"/>
            <a:ext cx="144187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cs typeface="Arial Narrow" pitchFamily="34" charset="0"/>
              </a:rPr>
              <a:t>(</a:t>
            </a:r>
            <a:r>
              <a:rPr lang="ko-KR" altLang="en-US" sz="1000">
                <a:solidFill>
                  <a:srgbClr val="000000"/>
                </a:solidFill>
                <a:cs typeface="Arial Narrow" pitchFamily="34" charset="0"/>
              </a:rPr>
              <a:t>오션아레나공연 포함</a:t>
            </a:r>
            <a:r>
              <a:rPr lang="en-US" altLang="ko-KR" sz="1000">
                <a:solidFill>
                  <a:srgbClr val="000000"/>
                </a:solidFill>
                <a:cs typeface="Arial Narrow" pitchFamily="34" charset="0"/>
              </a:rPr>
              <a:t>)</a:t>
            </a:r>
            <a:endParaRPr lang="ko-KR" altLang="en-US" sz="1000">
              <a:solidFill>
                <a:srgbClr val="000000"/>
              </a:solidFill>
              <a:cs typeface="Arial Narrow" pitchFamily="34" charset="0"/>
            </a:endParaRPr>
          </a:p>
        </p:txBody>
      </p:sp>
      <p:sp>
        <p:nvSpPr>
          <p:cNvPr id="68" name="자유형 67"/>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69" name="자유형 68"/>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0" name="타원 69"/>
          <p:cNvSpPr/>
          <p:nvPr/>
        </p:nvSpPr>
        <p:spPr>
          <a:xfrm>
            <a:off x="6540639" y="5714226"/>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72" name="타원 71"/>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73" name="자유형 72"/>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Tree>
    <p:extLst>
      <p:ext uri="{BB962C8B-B14F-4D97-AF65-F5344CB8AC3E}">
        <p14:creationId xmlns:p14="http://schemas.microsoft.com/office/powerpoint/2010/main" val="392340620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자유형 121"/>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내국인 관광객       </a:t>
            </a:r>
            <a:r>
              <a:rPr lang="en-US" altLang="ko-KR" smtClean="0"/>
              <a:t>2</a:t>
            </a:r>
            <a:r>
              <a:rPr lang="ko-KR" altLang="en-US" smtClean="0"/>
              <a:t>박 </a:t>
            </a:r>
            <a:r>
              <a:rPr lang="en-US" altLang="ko-KR" smtClean="0"/>
              <a:t>3</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다수를 차지하는 코스로</a:t>
            </a:r>
            <a:r>
              <a:rPr lang="en-US" altLang="ko-KR" sz="1600" spc="50">
                <a:ln>
                  <a:solidFill>
                    <a:prstClr val="black">
                      <a:alpha val="20000"/>
                    </a:prstClr>
                  </a:solidFill>
                </a:ln>
                <a:solidFill>
                  <a:srgbClr val="000000"/>
                </a:solidFill>
                <a:latin typeface="NOVA Bold"/>
                <a:ea typeface="NOVA Bold"/>
                <a:cs typeface="Arial" pitchFamily="34" charset="0"/>
              </a:rPr>
              <a:t> 1</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2</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일차에는 서부를 </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3</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일차에는 동부 위주로 관광 진행하며</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a:t>
            </a:r>
          </a:p>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sym typeface="Wingdings 2"/>
              </a:rPr>
              <a:t>성읍민속마을</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아쿠아플라넷</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카멜리아힐 방문과 승마체험</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 </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농수산물쇼핑이 주요 프로그램에 포함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grpSp>
        <p:nvGrpSpPr>
          <p:cNvPr id="8" name="그룹 7"/>
          <p:cNvGrpSpPr/>
          <p:nvPr/>
        </p:nvGrpSpPr>
        <p:grpSpPr>
          <a:xfrm>
            <a:off x="431540" y="4006319"/>
            <a:ext cx="1364830" cy="1028532"/>
            <a:chOff x="431540" y="4353406"/>
            <a:chExt cx="1364830" cy="1028532"/>
          </a:xfrm>
          <a:solidFill>
            <a:srgbClr val="F0F8FA"/>
          </a:solidFill>
        </p:grpSpPr>
        <p:sp>
          <p:nvSpPr>
            <p:cNvPr id="213" name="자유형 212"/>
            <p:cNvSpPr/>
            <p:nvPr/>
          </p:nvSpPr>
          <p:spPr>
            <a:xfrm>
              <a:off x="1023430" y="4391357"/>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5275738"/>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353406"/>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FFFFFF">
                    <a:lumMod val="75000"/>
                  </a:srgbClr>
                </a:solidFill>
                <a:latin typeface="NOVA Bold"/>
                <a:ea typeface="NOVA Bold"/>
              </a:endParaRPr>
            </a:p>
          </p:txBody>
        </p:sp>
      </p:grpSp>
      <p:sp>
        <p:nvSpPr>
          <p:cNvPr id="218" name="자유형 217"/>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1" name="자유형 220"/>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30" name="TextBox 229"/>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18070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2" name="TextBox 231"/>
          <p:cNvSpPr txBox="1"/>
          <p:nvPr/>
        </p:nvSpPr>
        <p:spPr>
          <a:xfrm>
            <a:off x="1717563" y="467250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33" name="TextBox 232"/>
          <p:cNvSpPr txBox="1"/>
          <p:nvPr/>
        </p:nvSpPr>
        <p:spPr>
          <a:xfrm>
            <a:off x="1585855" y="428169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2073166" y="403693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434678" y="3384031"/>
            <a:ext cx="116521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36" name="TextBox 235"/>
          <p:cNvSpPr txBox="1"/>
          <p:nvPr/>
        </p:nvSpPr>
        <p:spPr>
          <a:xfrm>
            <a:off x="3383868" y="369910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7" name="TextBox 236"/>
          <p:cNvSpPr txBox="1"/>
          <p:nvPr/>
        </p:nvSpPr>
        <p:spPr>
          <a:xfrm>
            <a:off x="4351462" y="304905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13119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97828" y="48598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483768" y="4523443"/>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735672129"/>
              </p:ext>
            </p:extLst>
          </p:nvPr>
        </p:nvGraphicFramePr>
        <p:xfrm>
          <a:off x="6732484" y="2280012"/>
          <a:ext cx="2196000" cy="3921296"/>
        </p:xfrm>
        <a:graphic>
          <a:graphicData uri="http://schemas.openxmlformats.org/drawingml/2006/chart">
            <c:chart xmlns:c="http://schemas.openxmlformats.org/drawingml/2006/chart" xmlns:r="http://schemas.openxmlformats.org/officeDocument/2006/relationships" r:id="rId3"/>
          </a:graphicData>
        </a:graphic>
      </p:graphicFrame>
      <p:sp>
        <p:nvSpPr>
          <p:cNvPr id="103" name="타원 102"/>
          <p:cNvSpPr/>
          <p:nvPr/>
        </p:nvSpPr>
        <p:spPr>
          <a:xfrm>
            <a:off x="2830490"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4" name="직사각형 103"/>
          <p:cNvSpPr/>
          <p:nvPr/>
        </p:nvSpPr>
        <p:spPr>
          <a:xfrm>
            <a:off x="3937855"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5" name="이등변 삼각형 104"/>
          <p:cNvSpPr/>
          <p:nvPr/>
        </p:nvSpPr>
        <p:spPr>
          <a:xfrm>
            <a:off x="5045220" y="246759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6" name="TextBox 105"/>
          <p:cNvSpPr txBox="1"/>
          <p:nvPr/>
        </p:nvSpPr>
        <p:spPr>
          <a:xfrm>
            <a:off x="2964238"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107" name="TextBox 106"/>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108" name="TextBox 107"/>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115" name="TextBox 114"/>
          <p:cNvSpPr txBox="1"/>
          <p:nvPr/>
        </p:nvSpPr>
        <p:spPr>
          <a:xfrm>
            <a:off x="5458020" y="3809119"/>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6" name="TextBox 115"/>
          <p:cNvSpPr txBox="1"/>
          <p:nvPr/>
        </p:nvSpPr>
        <p:spPr>
          <a:xfrm>
            <a:off x="4518010" y="343298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울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7" name="TextBox 116"/>
          <p:cNvSpPr txBox="1"/>
          <p:nvPr/>
        </p:nvSpPr>
        <p:spPr>
          <a:xfrm>
            <a:off x="2735796" y="301538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9" name="TextBox 118"/>
          <p:cNvSpPr txBox="1"/>
          <p:nvPr/>
        </p:nvSpPr>
        <p:spPr>
          <a:xfrm>
            <a:off x="2267744" y="5655800"/>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상절리</a:t>
            </a:r>
          </a:p>
        </p:txBody>
      </p:sp>
      <p:sp>
        <p:nvSpPr>
          <p:cNvPr id="120" name="TextBox 119"/>
          <p:cNvSpPr txBox="1"/>
          <p:nvPr/>
        </p:nvSpPr>
        <p:spPr>
          <a:xfrm>
            <a:off x="1943013" y="4869889"/>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멜리아힐</a:t>
            </a:r>
          </a:p>
        </p:txBody>
      </p:sp>
      <p:sp>
        <p:nvSpPr>
          <p:cNvPr id="121" name="TextBox 120"/>
          <p:cNvSpPr txBox="1"/>
          <p:nvPr/>
        </p:nvSpPr>
        <p:spPr>
          <a:xfrm>
            <a:off x="4362574" y="472314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3" name="타원 122"/>
          <p:cNvSpPr/>
          <p:nvPr/>
        </p:nvSpPr>
        <p:spPr>
          <a:xfrm>
            <a:off x="2591948" y="326195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5" name="직사각형 124"/>
          <p:cNvSpPr/>
          <p:nvPr/>
        </p:nvSpPr>
        <p:spPr>
          <a:xfrm>
            <a:off x="1862747" y="490005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6" name="직사각형 125"/>
          <p:cNvSpPr/>
          <p:nvPr/>
        </p:nvSpPr>
        <p:spPr>
          <a:xfrm>
            <a:off x="2726831" y="549020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8" name="이등변 삼각형 127"/>
          <p:cNvSpPr/>
          <p:nvPr/>
        </p:nvSpPr>
        <p:spPr>
          <a:xfrm>
            <a:off x="4535996" y="3369957"/>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9" name="이등변 삼각형 128"/>
          <p:cNvSpPr/>
          <p:nvPr/>
        </p:nvSpPr>
        <p:spPr>
          <a:xfrm>
            <a:off x="5499151" y="376201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0" name="이등변 삼각형 129"/>
          <p:cNvSpPr/>
          <p:nvPr/>
        </p:nvSpPr>
        <p:spPr>
          <a:xfrm>
            <a:off x="4355976" y="4585128"/>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4" name="TextBox 133"/>
          <p:cNvSpPr txBox="1"/>
          <p:nvPr/>
        </p:nvSpPr>
        <p:spPr>
          <a:xfrm>
            <a:off x="71500" y="457651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월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5" name="타원 134"/>
          <p:cNvSpPr/>
          <p:nvPr/>
        </p:nvSpPr>
        <p:spPr>
          <a:xfrm>
            <a:off x="747393" y="479965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6" name="TextBox 135"/>
          <p:cNvSpPr txBox="1"/>
          <p:nvPr/>
        </p:nvSpPr>
        <p:spPr>
          <a:xfrm>
            <a:off x="863444" y="4774101"/>
            <a:ext cx="468196"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올레길</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12</a:t>
            </a: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코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7" name="타원 136"/>
          <p:cNvSpPr/>
          <p:nvPr/>
        </p:nvSpPr>
        <p:spPr>
          <a:xfrm>
            <a:off x="428588" y="4953238"/>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8" name="TextBox 137"/>
          <p:cNvSpPr txBox="1"/>
          <p:nvPr/>
        </p:nvSpPr>
        <p:spPr>
          <a:xfrm>
            <a:off x="152473" y="5107973"/>
            <a:ext cx="468196"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차귀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참수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0" name="TextBox 139"/>
          <p:cNvSpPr txBox="1"/>
          <p:nvPr/>
        </p:nvSpPr>
        <p:spPr>
          <a:xfrm>
            <a:off x="1475512" y="5944666"/>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마라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1" name="TextBox 140"/>
          <p:cNvSpPr txBox="1"/>
          <p:nvPr/>
        </p:nvSpPr>
        <p:spPr>
          <a:xfrm>
            <a:off x="1216572" y="4888105"/>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서커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월드</a:t>
            </a:r>
          </a:p>
        </p:txBody>
      </p:sp>
      <p:sp>
        <p:nvSpPr>
          <p:cNvPr id="143" name="직사각형 142"/>
          <p:cNvSpPr/>
          <p:nvPr/>
        </p:nvSpPr>
        <p:spPr>
          <a:xfrm>
            <a:off x="1488437" y="405402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4" name="TextBox 143"/>
          <p:cNvSpPr txBox="1"/>
          <p:nvPr/>
        </p:nvSpPr>
        <p:spPr>
          <a:xfrm>
            <a:off x="683568" y="4164204"/>
            <a:ext cx="1207699"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금능식물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5" name="직사각형 144"/>
          <p:cNvSpPr/>
          <p:nvPr/>
        </p:nvSpPr>
        <p:spPr>
          <a:xfrm>
            <a:off x="1668060" y="383800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6" name="TextBox 145"/>
          <p:cNvSpPr txBox="1"/>
          <p:nvPr/>
        </p:nvSpPr>
        <p:spPr>
          <a:xfrm>
            <a:off x="1547972" y="396783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림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7" name="직사각형 146"/>
          <p:cNvSpPr/>
          <p:nvPr/>
        </p:nvSpPr>
        <p:spPr>
          <a:xfrm>
            <a:off x="1361106" y="381974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8" name="TextBox 147"/>
          <p:cNvSpPr txBox="1"/>
          <p:nvPr/>
        </p:nvSpPr>
        <p:spPr>
          <a:xfrm>
            <a:off x="366860" y="3685016"/>
            <a:ext cx="1207699"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협재해수욕장</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9" name="TextBox 148"/>
          <p:cNvSpPr txBox="1"/>
          <p:nvPr/>
        </p:nvSpPr>
        <p:spPr>
          <a:xfrm>
            <a:off x="1907792" y="3267054"/>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해안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페촌</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1" name="TextBox 150"/>
          <p:cNvSpPr txBox="1"/>
          <p:nvPr/>
        </p:nvSpPr>
        <p:spPr>
          <a:xfrm>
            <a:off x="3033025" y="319540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만덕객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2" name="타원 151"/>
          <p:cNvSpPr/>
          <p:nvPr/>
        </p:nvSpPr>
        <p:spPr>
          <a:xfrm>
            <a:off x="2984564" y="321872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6" name="직사각형 155"/>
          <p:cNvSpPr/>
          <p:nvPr/>
        </p:nvSpPr>
        <p:spPr>
          <a:xfrm>
            <a:off x="2746752" y="360902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7" name="TextBox 156"/>
          <p:cNvSpPr txBox="1"/>
          <p:nvPr/>
        </p:nvSpPr>
        <p:spPr>
          <a:xfrm>
            <a:off x="1919541" y="3614481"/>
            <a:ext cx="1203334"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8" name="이등변 삼각형 157"/>
          <p:cNvSpPr/>
          <p:nvPr/>
        </p:nvSpPr>
        <p:spPr>
          <a:xfrm>
            <a:off x="3514435" y="3950300"/>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9" name="TextBox 158"/>
          <p:cNvSpPr txBox="1"/>
          <p:nvPr/>
        </p:nvSpPr>
        <p:spPr>
          <a:xfrm>
            <a:off x="3509810" y="394255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에코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0" name="이등변 삼각형 159"/>
          <p:cNvSpPr/>
          <p:nvPr/>
        </p:nvSpPr>
        <p:spPr>
          <a:xfrm>
            <a:off x="4255628" y="4388872"/>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1" name="TextBox 160"/>
          <p:cNvSpPr txBox="1"/>
          <p:nvPr/>
        </p:nvSpPr>
        <p:spPr>
          <a:xfrm>
            <a:off x="4247996" y="437114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포니밸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2" name="이등변 삼각형 161"/>
          <p:cNvSpPr/>
          <p:nvPr/>
        </p:nvSpPr>
        <p:spPr>
          <a:xfrm>
            <a:off x="5461370" y="4021727"/>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3" name="TextBox 162"/>
          <p:cNvSpPr txBox="1"/>
          <p:nvPr/>
        </p:nvSpPr>
        <p:spPr>
          <a:xfrm>
            <a:off x="5453738" y="4058300"/>
            <a:ext cx="936392"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커피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5" name="TextBox 164"/>
          <p:cNvSpPr txBox="1"/>
          <p:nvPr/>
        </p:nvSpPr>
        <p:spPr>
          <a:xfrm>
            <a:off x="5858474" y="3358223"/>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우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6" name="직사각형 165"/>
          <p:cNvSpPr/>
          <p:nvPr/>
        </p:nvSpPr>
        <p:spPr>
          <a:xfrm>
            <a:off x="3225079" y="53372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7" name="TextBox 166"/>
          <p:cNvSpPr txBox="1"/>
          <p:nvPr/>
        </p:nvSpPr>
        <p:spPr>
          <a:xfrm>
            <a:off x="2956954" y="5014047"/>
            <a:ext cx="53218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그랑블루요트</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8" name="직사각형 167"/>
          <p:cNvSpPr/>
          <p:nvPr/>
        </p:nvSpPr>
        <p:spPr>
          <a:xfrm>
            <a:off x="2315024" y="510914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9" name="TextBox 168"/>
          <p:cNvSpPr txBox="1"/>
          <p:nvPr/>
        </p:nvSpPr>
        <p:spPr>
          <a:xfrm>
            <a:off x="2261748" y="5080636"/>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석부작</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0" name="이등변 삼각형 169"/>
          <p:cNvSpPr/>
          <p:nvPr/>
        </p:nvSpPr>
        <p:spPr>
          <a:xfrm>
            <a:off x="4335425" y="371269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71" name="TextBox 170"/>
          <p:cNvSpPr txBox="1"/>
          <p:nvPr/>
        </p:nvSpPr>
        <p:spPr>
          <a:xfrm>
            <a:off x="4290378" y="3651885"/>
            <a:ext cx="936392"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워터서커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3" name="TextBox 172"/>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국내 </a:t>
            </a:r>
            <a:r>
              <a:rPr lang="en-US" altLang="ko-KR" sz="900">
                <a:solidFill>
                  <a:srgbClr val="000000"/>
                </a:solidFill>
              </a:rPr>
              <a:t>3</a:t>
            </a:r>
            <a:r>
              <a:rPr lang="ko-KR" altLang="en-US" sz="900">
                <a:solidFill>
                  <a:srgbClr val="000000"/>
                </a:solidFill>
              </a:rPr>
              <a:t>개 대형 여행사</a:t>
            </a:r>
            <a:r>
              <a:rPr lang="en-US" altLang="ko-KR" sz="900">
                <a:solidFill>
                  <a:srgbClr val="000000"/>
                </a:solidFill>
              </a:rPr>
              <a:t>(</a:t>
            </a:r>
            <a:r>
              <a:rPr lang="ko-KR" altLang="en-US" sz="900">
                <a:solidFill>
                  <a:srgbClr val="000000"/>
                </a:solidFill>
              </a:rPr>
              <a:t>하나투어</a:t>
            </a:r>
            <a:r>
              <a:rPr lang="en-US" altLang="ko-KR" sz="900">
                <a:solidFill>
                  <a:srgbClr val="000000"/>
                </a:solidFill>
              </a:rPr>
              <a:t>, </a:t>
            </a:r>
            <a:r>
              <a:rPr lang="ko-KR" altLang="en-US" sz="900">
                <a:solidFill>
                  <a:srgbClr val="000000"/>
                </a:solidFill>
              </a:rPr>
              <a:t>모두투어</a:t>
            </a:r>
            <a:r>
              <a:rPr lang="en-US" altLang="ko-KR" sz="900">
                <a:solidFill>
                  <a:srgbClr val="000000"/>
                </a:solidFill>
              </a:rPr>
              <a:t>, </a:t>
            </a:r>
            <a:r>
              <a:rPr lang="ko-KR" altLang="en-US" sz="900">
                <a:solidFill>
                  <a:srgbClr val="000000"/>
                </a:solidFill>
              </a:rPr>
              <a:t>인터파크투어</a:t>
            </a:r>
            <a:r>
              <a:rPr lang="en-US" altLang="ko-KR" sz="900">
                <a:solidFill>
                  <a:srgbClr val="000000"/>
                </a:solidFill>
              </a:rPr>
              <a:t>)</a:t>
            </a:r>
            <a:r>
              <a:rPr lang="ko-KR" altLang="en-US" sz="900">
                <a:solidFill>
                  <a:srgbClr val="000000"/>
                </a:solidFill>
              </a:rPr>
              <a:t>의 </a:t>
            </a:r>
            <a:r>
              <a:rPr lang="en-US" altLang="ko-KR" sz="900">
                <a:solidFill>
                  <a:srgbClr val="000000"/>
                </a:solidFill>
              </a:rPr>
              <a:t>9</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쇼핑 코스</a:t>
            </a:r>
            <a:r>
              <a:rPr lang="en-US" altLang="ko-KR" sz="900">
                <a:solidFill>
                  <a:srgbClr val="000000"/>
                </a:solidFill>
              </a:rPr>
              <a:t>(</a:t>
            </a:r>
            <a:r>
              <a:rPr lang="ko-KR" altLang="en-US" sz="900">
                <a:solidFill>
                  <a:srgbClr val="000000"/>
                </a:solidFill>
              </a:rPr>
              <a:t>농수산물센터</a:t>
            </a:r>
            <a:r>
              <a:rPr lang="en-US" altLang="ko-KR" sz="900">
                <a:solidFill>
                  <a:srgbClr val="000000"/>
                </a:solidFill>
              </a:rPr>
              <a:t>, </a:t>
            </a:r>
            <a:r>
              <a:rPr lang="ko-KR" altLang="en-US" sz="900">
                <a:solidFill>
                  <a:srgbClr val="000000"/>
                </a:solidFill>
              </a:rPr>
              <a:t>관광농원</a:t>
            </a:r>
            <a:r>
              <a:rPr lang="en-US" altLang="ko-KR" sz="900">
                <a:solidFill>
                  <a:srgbClr val="000000"/>
                </a:solidFill>
              </a:rPr>
              <a:t>), </a:t>
            </a:r>
            <a:r>
              <a:rPr lang="ko-KR" altLang="en-US" sz="900">
                <a:solidFill>
                  <a:srgbClr val="000000"/>
                </a:solidFill>
              </a:rPr>
              <a:t>특정 장소가 지정되지 않은 레포츠 코스</a:t>
            </a:r>
            <a:r>
              <a:rPr lang="en-US" altLang="ko-KR" sz="900">
                <a:solidFill>
                  <a:srgbClr val="000000"/>
                </a:solidFill>
              </a:rPr>
              <a:t>(</a:t>
            </a:r>
            <a:r>
              <a:rPr lang="ko-KR" altLang="en-US" sz="900">
                <a:solidFill>
                  <a:srgbClr val="000000"/>
                </a:solidFill>
              </a:rPr>
              <a:t>섬트래킹</a:t>
            </a:r>
            <a:r>
              <a:rPr lang="en-US" altLang="ko-KR" sz="900">
                <a:solidFill>
                  <a:srgbClr val="000000"/>
                </a:solidFill>
              </a:rPr>
              <a:t>, </a:t>
            </a:r>
            <a:r>
              <a:rPr lang="ko-KR" altLang="en-US" sz="900">
                <a:solidFill>
                  <a:srgbClr val="000000"/>
                </a:solidFill>
              </a:rPr>
              <a:t>승마체험장</a:t>
            </a:r>
            <a:r>
              <a:rPr lang="en-US" altLang="ko-KR" sz="900">
                <a:solidFill>
                  <a:srgbClr val="000000"/>
                </a:solidFill>
              </a:rPr>
              <a:t>)</a:t>
            </a:r>
            <a:r>
              <a:rPr lang="ko-KR" altLang="en-US" sz="900">
                <a:solidFill>
                  <a:srgbClr val="000000"/>
                </a:solidFill>
              </a:rPr>
              <a:t>는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sp>
        <p:nvSpPr>
          <p:cNvPr id="176" name="TextBox 175"/>
          <p:cNvSpPr txBox="1"/>
          <p:nvPr/>
        </p:nvSpPr>
        <p:spPr>
          <a:xfrm>
            <a:off x="683656" y="5446095"/>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곶자왈</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도립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7" name="직사각형 176"/>
          <p:cNvSpPr/>
          <p:nvPr/>
        </p:nvSpPr>
        <p:spPr>
          <a:xfrm>
            <a:off x="1367656" y="548554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78" name="직사각형 177"/>
          <p:cNvSpPr/>
          <p:nvPr/>
        </p:nvSpPr>
        <p:spPr>
          <a:xfrm>
            <a:off x="1835708" y="54092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79" name="TextBox 178"/>
          <p:cNvSpPr txBox="1"/>
          <p:nvPr/>
        </p:nvSpPr>
        <p:spPr>
          <a:xfrm>
            <a:off x="1323933" y="5517232"/>
            <a:ext cx="124977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산방산유람선</a:t>
            </a:r>
          </a:p>
        </p:txBody>
      </p:sp>
      <p:sp>
        <p:nvSpPr>
          <p:cNvPr id="181" name="직사각형 180"/>
          <p:cNvSpPr/>
          <p:nvPr/>
        </p:nvSpPr>
        <p:spPr>
          <a:xfrm>
            <a:off x="1763700" y="505814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2" name="이등변 삼각형 181"/>
          <p:cNvSpPr/>
          <p:nvPr/>
        </p:nvSpPr>
        <p:spPr>
          <a:xfrm>
            <a:off x="3743920" y="353702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3" name="TextBox 182"/>
          <p:cNvSpPr txBox="1"/>
          <p:nvPr/>
        </p:nvSpPr>
        <p:spPr>
          <a:xfrm>
            <a:off x="3445698" y="336976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선녀와나무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84" name="직사각형 183"/>
          <p:cNvSpPr/>
          <p:nvPr/>
        </p:nvSpPr>
        <p:spPr>
          <a:xfrm>
            <a:off x="5544120" y="363607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5" name="TextBox 184"/>
          <p:cNvSpPr txBox="1"/>
          <p:nvPr/>
        </p:nvSpPr>
        <p:spPr>
          <a:xfrm>
            <a:off x="5580256" y="3591415"/>
            <a:ext cx="966171"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포유람선</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86" name="이등변 삼각형 185"/>
          <p:cNvSpPr/>
          <p:nvPr/>
        </p:nvSpPr>
        <p:spPr>
          <a:xfrm>
            <a:off x="5697662" y="334480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9" name="타원 188"/>
          <p:cNvSpPr/>
          <p:nvPr/>
        </p:nvSpPr>
        <p:spPr>
          <a:xfrm>
            <a:off x="673639" y="462835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0" name="타원 189"/>
          <p:cNvSpPr/>
          <p:nvPr/>
        </p:nvSpPr>
        <p:spPr>
          <a:xfrm>
            <a:off x="2681862" y="316800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1" name="TextBox 190"/>
          <p:cNvSpPr txBox="1"/>
          <p:nvPr/>
        </p:nvSpPr>
        <p:spPr>
          <a:xfrm>
            <a:off x="2101455" y="2826912"/>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해안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92" name="이등변 삼각형 191"/>
          <p:cNvSpPr/>
          <p:nvPr/>
        </p:nvSpPr>
        <p:spPr>
          <a:xfrm>
            <a:off x="2821566" y="308740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3" name="이등변 삼각형 192"/>
          <p:cNvSpPr/>
          <p:nvPr/>
        </p:nvSpPr>
        <p:spPr>
          <a:xfrm>
            <a:off x="4939384" y="4238956"/>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4" name="TextBox 193"/>
          <p:cNvSpPr txBox="1"/>
          <p:nvPr/>
        </p:nvSpPr>
        <p:spPr>
          <a:xfrm>
            <a:off x="4860032" y="4275529"/>
            <a:ext cx="936392"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일출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95" name="직사각형 194"/>
          <p:cNvSpPr/>
          <p:nvPr/>
        </p:nvSpPr>
        <p:spPr>
          <a:xfrm>
            <a:off x="1612572" y="521714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6" name="TextBox 195"/>
          <p:cNvSpPr txBox="1"/>
          <p:nvPr/>
        </p:nvSpPr>
        <p:spPr>
          <a:xfrm>
            <a:off x="1655764" y="520673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점보빌리지</a:t>
            </a:r>
          </a:p>
        </p:txBody>
      </p:sp>
      <p:sp>
        <p:nvSpPr>
          <p:cNvPr id="197" name="직사각형 196"/>
          <p:cNvSpPr/>
          <p:nvPr/>
        </p:nvSpPr>
        <p:spPr>
          <a:xfrm>
            <a:off x="3293942" y="416715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8" name="TextBox 197"/>
          <p:cNvSpPr txBox="1"/>
          <p:nvPr/>
        </p:nvSpPr>
        <p:spPr>
          <a:xfrm>
            <a:off x="2915816" y="4317045"/>
            <a:ext cx="872844"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판악등산코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99" name="타원 198"/>
          <p:cNvSpPr/>
          <p:nvPr/>
        </p:nvSpPr>
        <p:spPr>
          <a:xfrm>
            <a:off x="2906995" y="360903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00" name="TextBox 199"/>
          <p:cNvSpPr txBox="1"/>
          <p:nvPr/>
        </p:nvSpPr>
        <p:spPr>
          <a:xfrm>
            <a:off x="2762923" y="3644665"/>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 name="타원 9"/>
          <p:cNvSpPr/>
          <p:nvPr/>
        </p:nvSpPr>
        <p:spPr>
          <a:xfrm>
            <a:off x="6552260" y="3088681"/>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203" name="타원 202"/>
          <p:cNvSpPr/>
          <p:nvPr/>
        </p:nvSpPr>
        <p:spPr>
          <a:xfrm>
            <a:off x="6552260" y="4336529"/>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124" name="자유형 123"/>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7" name="자유형 126"/>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1" name="자유형 130"/>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88" name="직사각형 187"/>
          <p:cNvSpPr/>
          <p:nvPr/>
        </p:nvSpPr>
        <p:spPr>
          <a:xfrm>
            <a:off x="1358691" y="599439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 name="TextBox 2"/>
          <p:cNvSpPr txBox="1"/>
          <p:nvPr/>
        </p:nvSpPr>
        <p:spPr>
          <a:xfrm>
            <a:off x="7867414" y="5805264"/>
            <a:ext cx="213520"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500" b="1">
                <a:solidFill>
                  <a:srgbClr val="000000"/>
                </a:solidFill>
                <a:cs typeface="Arial Narrow" pitchFamily="34" charset="0"/>
              </a:rPr>
              <a:t>…</a:t>
            </a:r>
            <a:endParaRPr lang="ko-KR" altLang="en-US" sz="1500" b="1">
              <a:solidFill>
                <a:srgbClr val="000000"/>
              </a:solidFill>
              <a:cs typeface="Arial Narrow" pitchFamily="34" charset="0"/>
            </a:endParaRPr>
          </a:p>
        </p:txBody>
      </p:sp>
      <p:sp>
        <p:nvSpPr>
          <p:cNvPr id="132" name="TextBox 131"/>
          <p:cNvSpPr txBox="1"/>
          <p:nvPr/>
        </p:nvSpPr>
        <p:spPr>
          <a:xfrm>
            <a:off x="7382816" y="5805264"/>
            <a:ext cx="213520"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500" b="1">
                <a:solidFill>
                  <a:srgbClr val="000000"/>
                </a:solidFill>
                <a:cs typeface="Arial Narrow" pitchFamily="34" charset="0"/>
              </a:rPr>
              <a:t>…</a:t>
            </a:r>
            <a:endParaRPr lang="ko-KR" altLang="en-US" sz="1500" b="1">
              <a:solidFill>
                <a:srgbClr val="000000"/>
              </a:solidFill>
              <a:cs typeface="Arial Narrow" pitchFamily="34" charset="0"/>
            </a:endParaRPr>
          </a:p>
        </p:txBody>
      </p:sp>
      <p:sp>
        <p:nvSpPr>
          <p:cNvPr id="139" name="타원 138"/>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72509566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자유형 66"/>
          <p:cNvSpPr/>
          <p:nvPr/>
        </p:nvSpPr>
        <p:spPr>
          <a:xfrm>
            <a:off x="2043075" y="4343126"/>
            <a:ext cx="1463097" cy="1277825"/>
          </a:xfrm>
          <a:custGeom>
            <a:avLst/>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무박 </a:t>
            </a:r>
            <a:r>
              <a:rPr lang="en-US" altLang="ko-KR" smtClean="0"/>
              <a:t>1</a:t>
            </a:r>
            <a:r>
              <a:rPr lang="ko-KR" altLang="en-US" smtClean="0"/>
              <a:t>일 코스</a:t>
            </a:r>
            <a:r>
              <a:rPr lang="en-US" altLang="ko-KR" smtClean="0"/>
              <a:t>(</a:t>
            </a:r>
            <a:r>
              <a:rPr lang="ko-KR" altLang="en-US" smtClean="0"/>
              <a:t>크루즈 상품</a:t>
            </a:r>
            <a:r>
              <a:rPr lang="en-US" altLang="ko-KR" smtClean="0"/>
              <a:t>)</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a:ln>
                  <a:solidFill>
                    <a:prstClr val="black">
                      <a:alpha val="20000"/>
                    </a:prstClr>
                  </a:solidFill>
                </a:ln>
                <a:solidFill>
                  <a:srgbClr val="000000"/>
                </a:solidFill>
                <a:latin typeface="NOVA Bold"/>
                <a:ea typeface="NOVA Bold"/>
                <a:cs typeface="Arial" pitchFamily="34" charset="0"/>
              </a:rPr>
              <a:t>최근 빈도가 높아지고 있는 크루즈 상품은 관광지 </a:t>
            </a:r>
            <a:r>
              <a:rPr lang="en-US" altLang="ko-KR" sz="1600">
                <a:ln>
                  <a:solidFill>
                    <a:prstClr val="black">
                      <a:alpha val="20000"/>
                    </a:prstClr>
                  </a:solidFill>
                </a:ln>
                <a:solidFill>
                  <a:srgbClr val="000000"/>
                </a:solidFill>
                <a:latin typeface="NOVA Bold"/>
                <a:ea typeface="NOVA Bold"/>
                <a:cs typeface="Arial" pitchFamily="34" charset="0"/>
              </a:rPr>
              <a:t>1</a:t>
            </a:r>
            <a:r>
              <a:rPr lang="ko-KR" altLang="en-US" sz="1600">
                <a:ln>
                  <a:solidFill>
                    <a:prstClr val="black">
                      <a:alpha val="20000"/>
                    </a:prstClr>
                  </a:solidFill>
                </a:ln>
                <a:solidFill>
                  <a:srgbClr val="000000"/>
                </a:solidFill>
                <a:latin typeface="NOVA Bold"/>
                <a:ea typeface="NOVA Bold"/>
                <a:cs typeface="Arial" pitchFamily="34" charset="0"/>
              </a:rPr>
              <a:t>곳과 면세점 </a:t>
            </a:r>
            <a:r>
              <a:rPr lang="en-US" altLang="ko-KR" sz="1600">
                <a:ln>
                  <a:solidFill>
                    <a:prstClr val="black">
                      <a:alpha val="20000"/>
                    </a:prstClr>
                  </a:solidFill>
                </a:ln>
                <a:solidFill>
                  <a:srgbClr val="000000"/>
                </a:solidFill>
                <a:latin typeface="NOVA Bold"/>
                <a:ea typeface="NOVA Bold"/>
                <a:cs typeface="Arial" pitchFamily="34" charset="0"/>
              </a:rPr>
              <a:t>1</a:t>
            </a:r>
            <a:r>
              <a:rPr lang="ko-KR" altLang="en-US" sz="1600">
                <a:ln>
                  <a:solidFill>
                    <a:prstClr val="black">
                      <a:alpha val="20000"/>
                    </a:prstClr>
                  </a:solidFill>
                </a:ln>
                <a:solidFill>
                  <a:srgbClr val="000000"/>
                </a:solidFill>
                <a:latin typeface="NOVA Bold"/>
                <a:ea typeface="NOVA Bold"/>
                <a:cs typeface="Arial" pitchFamily="34" charset="0"/>
              </a:rPr>
              <a:t>곳을 방문하는 프로그램으로 구성됨</a:t>
            </a:r>
            <a:endParaRPr lang="en-US" altLang="ko-KR" sz="16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avLst/>
            <a:gdLst>
              <a:gd name="connsiteX0" fmla="*/ 0 w 1400175"/>
              <a:gd name="connsiteY0" fmla="*/ 895350 h 895350"/>
              <a:gd name="connsiteX1" fmla="*/ 914400 w 1400175"/>
              <a:gd name="connsiteY1" fmla="*/ 885825 h 895350"/>
              <a:gd name="connsiteX2" fmla="*/ 1400175 w 1400175"/>
              <a:gd name="connsiteY2" fmla="*/ 0 h 895350"/>
            </a:gdLst>
            <a:ah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avLst/>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3" name="자유형 212"/>
          <p:cNvSpPr/>
          <p:nvPr/>
        </p:nvSpPr>
        <p:spPr>
          <a:xfrm>
            <a:off x="1023430" y="4044270"/>
            <a:ext cx="87872" cy="74876"/>
          </a:xfrm>
          <a:custGeom>
            <a:avLst/>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4928651"/>
            <a:ext cx="117715" cy="106200"/>
          </a:xfrm>
          <a:custGeom>
            <a:avLst/>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avLst/>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avLst/>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006319"/>
            <a:ext cx="1204340" cy="986049"/>
          </a:xfrm>
          <a:custGeom>
            <a:avLst/>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8" name="자유형 217"/>
          <p:cNvSpPr/>
          <p:nvPr/>
        </p:nvSpPr>
        <p:spPr>
          <a:xfrm>
            <a:off x="592030" y="4708252"/>
            <a:ext cx="1092926" cy="1169889"/>
          </a:xfrm>
          <a:custGeom>
            <a:avLst/>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avLst/>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avLst/>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1" name="자유형 220"/>
          <p:cNvSpPr/>
          <p:nvPr/>
        </p:nvSpPr>
        <p:spPr>
          <a:xfrm>
            <a:off x="1875068" y="3276531"/>
            <a:ext cx="1260047" cy="1244167"/>
          </a:xfrm>
          <a:custGeom>
            <a:avLst/>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avLst/>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ah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avLst/>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avLst/>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avLst/>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ah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avLst/>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ah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avLst/>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ah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30" name="TextBox 229"/>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3" name="TextBox 232"/>
          <p:cNvSpPr txBox="1"/>
          <p:nvPr/>
        </p:nvSpPr>
        <p:spPr>
          <a:xfrm>
            <a:off x="1347838" y="400631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1835696" y="37530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847487" y="3477252"/>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36" name="TextBox 235"/>
          <p:cNvSpPr txBox="1"/>
          <p:nvPr/>
        </p:nvSpPr>
        <p:spPr>
          <a:xfrm>
            <a:off x="3418322" y="359653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768202" y="4025525"/>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34100" y="47364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579910" y="4708252"/>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43" name="타원 242"/>
          <p:cNvSpPr/>
          <p:nvPr/>
        </p:nvSpPr>
        <p:spPr>
          <a:xfrm>
            <a:off x="3095848" y="3309805"/>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5" name="TextBox 244"/>
          <p:cNvSpPr txBox="1"/>
          <p:nvPr/>
        </p:nvSpPr>
        <p:spPr>
          <a:xfrm>
            <a:off x="4110129" y="244778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방문지</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2780825418"/>
              </p:ext>
            </p:extLst>
          </p:nvPr>
        </p:nvGraphicFramePr>
        <p:xfrm>
          <a:off x="6696236" y="2280012"/>
          <a:ext cx="2268252" cy="3998240"/>
        </p:xfrm>
        <a:graphic>
          <a:graphicData uri="http://schemas.openxmlformats.org/drawingml/2006/chart">
            <c:chart xmlns:c="http://schemas.openxmlformats.org/drawingml/2006/chart" xmlns:r="http://schemas.openxmlformats.org/officeDocument/2006/relationships" r:id="rId3"/>
          </a:graphicData>
        </a:graphic>
      </p:graphicFrame>
      <p:sp>
        <p:nvSpPr>
          <p:cNvPr id="66" name="TextBox 65"/>
          <p:cNvSpPr txBox="1"/>
          <p:nvPr/>
        </p:nvSpPr>
        <p:spPr>
          <a:xfrm>
            <a:off x="449193" y="6201308"/>
            <a:ext cx="8352000" cy="16619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 5</a:t>
            </a:r>
            <a:r>
              <a:rPr lang="ko-KR" altLang="en-US" sz="900">
                <a:solidFill>
                  <a:srgbClr val="000000"/>
                </a:solidFill>
              </a:rPr>
              <a:t>개 크루즈 상품 분석 </a:t>
            </a:r>
            <a:r>
              <a:rPr lang="en-US" altLang="ko-KR" sz="900">
                <a:solidFill>
                  <a:srgbClr val="000000"/>
                </a:solidFill>
              </a:rPr>
              <a:t>(2</a:t>
            </a:r>
            <a:r>
              <a:rPr lang="ko-KR" altLang="en-US" sz="900">
                <a:solidFill>
                  <a:srgbClr val="000000"/>
                </a:solidFill>
              </a:rPr>
              <a:t>개 상품은 코스 동일</a:t>
            </a:r>
            <a:r>
              <a:rPr lang="en-US" altLang="ko-KR" sz="900">
                <a:solidFill>
                  <a:srgbClr val="000000"/>
                </a:solidFill>
              </a:rPr>
              <a:t> : </a:t>
            </a:r>
            <a:r>
              <a:rPr lang="ko-KR" altLang="en-US" sz="900">
                <a:solidFill>
                  <a:srgbClr val="000000"/>
                </a:solidFill>
              </a:rPr>
              <a:t>테디베어박물관 </a:t>
            </a:r>
            <a:r>
              <a:rPr lang="ko-KR" altLang="en-US" sz="900">
                <a:solidFill>
                  <a:srgbClr val="000000"/>
                </a:solidFill>
                <a:sym typeface="Wingdings"/>
              </a:rPr>
              <a:t> 신라면세점</a:t>
            </a:r>
            <a:r>
              <a:rPr lang="en-US" altLang="ko-KR" sz="900">
                <a:solidFill>
                  <a:srgbClr val="000000"/>
                </a:solidFill>
                <a:sym typeface="Wingdings"/>
              </a:rPr>
              <a:t>)</a:t>
            </a:r>
            <a:endParaRPr lang="en-US" altLang="ko-KR" sz="900">
              <a:solidFill>
                <a:srgbClr val="000000"/>
              </a:solidFill>
            </a:endParaRPr>
          </a:p>
        </p:txBody>
      </p:sp>
      <p:cxnSp>
        <p:nvCxnSpPr>
          <p:cNvPr id="8" name="직선 화살표 연결선 7"/>
          <p:cNvCxnSpPr/>
          <p:nvPr/>
        </p:nvCxnSpPr>
        <p:spPr>
          <a:xfrm flipV="1">
            <a:off x="4857304" y="2501861"/>
            <a:ext cx="371877" cy="4909"/>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5292168" y="244778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코스</a:t>
            </a:r>
          </a:p>
        </p:txBody>
      </p:sp>
      <p:sp>
        <p:nvSpPr>
          <p:cNvPr id="71" name="TextBox 70"/>
          <p:cNvSpPr txBox="1"/>
          <p:nvPr/>
        </p:nvSpPr>
        <p:spPr>
          <a:xfrm>
            <a:off x="2187442" y="311494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롯데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2" name="타원 71"/>
          <p:cNvSpPr/>
          <p:nvPr/>
        </p:nvSpPr>
        <p:spPr>
          <a:xfrm>
            <a:off x="2771812" y="328498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3" name="TextBox 72"/>
          <p:cNvSpPr txBox="1"/>
          <p:nvPr/>
        </p:nvSpPr>
        <p:spPr>
          <a:xfrm>
            <a:off x="3038100" y="311494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4" name="타원 73"/>
          <p:cNvSpPr/>
          <p:nvPr/>
        </p:nvSpPr>
        <p:spPr>
          <a:xfrm>
            <a:off x="3941870" y="245690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11" name="직선 화살표 연결선 10"/>
          <p:cNvCxnSpPr>
            <a:stCxn id="243" idx="2"/>
            <a:endCxn id="72" idx="6"/>
          </p:cNvCxnSpPr>
          <p:nvPr/>
        </p:nvCxnSpPr>
        <p:spPr>
          <a:xfrm flipH="1" flipV="1">
            <a:off x="2879812" y="3338984"/>
            <a:ext cx="216036" cy="24821"/>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83" name="타원 82"/>
          <p:cNvSpPr/>
          <p:nvPr/>
        </p:nvSpPr>
        <p:spPr>
          <a:xfrm>
            <a:off x="2838872" y="349936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4" name="TextBox 83"/>
          <p:cNvSpPr txBox="1"/>
          <p:nvPr/>
        </p:nvSpPr>
        <p:spPr>
          <a:xfrm>
            <a:off x="2121435" y="34498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85" name="직선 화살표 연결선 84"/>
          <p:cNvCxnSpPr>
            <a:stCxn id="243" idx="3"/>
            <a:endCxn id="83" idx="7"/>
          </p:cNvCxnSpPr>
          <p:nvPr/>
        </p:nvCxnSpPr>
        <p:spPr>
          <a:xfrm flipH="1">
            <a:off x="2931056" y="3401989"/>
            <a:ext cx="180608" cy="113194"/>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86" name="타원 85"/>
          <p:cNvSpPr/>
          <p:nvPr/>
        </p:nvSpPr>
        <p:spPr>
          <a:xfrm>
            <a:off x="1871700" y="4338065"/>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7" name="TextBox 86"/>
          <p:cNvSpPr txBox="1"/>
          <p:nvPr/>
        </p:nvSpPr>
        <p:spPr>
          <a:xfrm>
            <a:off x="1783754" y="433386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트릭아이</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8" name="타원 87"/>
          <p:cNvSpPr/>
          <p:nvPr/>
        </p:nvSpPr>
        <p:spPr>
          <a:xfrm>
            <a:off x="2910121" y="371198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9" name="TextBox 88"/>
          <p:cNvSpPr txBox="1"/>
          <p:nvPr/>
        </p:nvSpPr>
        <p:spPr>
          <a:xfrm>
            <a:off x="2642100" y="3877351"/>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90" name="직선 화살표 연결선 89"/>
          <p:cNvCxnSpPr>
            <a:stCxn id="86" idx="7"/>
            <a:endCxn id="88" idx="3"/>
          </p:cNvCxnSpPr>
          <p:nvPr/>
        </p:nvCxnSpPr>
        <p:spPr>
          <a:xfrm flipV="1">
            <a:off x="1963884" y="3804173"/>
            <a:ext cx="962053" cy="549708"/>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101" name="타원 100"/>
          <p:cNvSpPr/>
          <p:nvPr/>
        </p:nvSpPr>
        <p:spPr>
          <a:xfrm>
            <a:off x="2303760" y="536426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2" name="TextBox 101"/>
          <p:cNvSpPr txBox="1"/>
          <p:nvPr/>
        </p:nvSpPr>
        <p:spPr>
          <a:xfrm>
            <a:off x="2467830" y="5301208"/>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03" name="직선 화살표 연결선 102"/>
          <p:cNvCxnSpPr>
            <a:stCxn id="101" idx="7"/>
            <a:endCxn id="83" idx="3"/>
          </p:cNvCxnSpPr>
          <p:nvPr/>
        </p:nvCxnSpPr>
        <p:spPr>
          <a:xfrm flipV="1">
            <a:off x="2395944" y="3591551"/>
            <a:ext cx="458744" cy="1788528"/>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68" name="자유형 67"/>
          <p:cNvSpPr/>
          <p:nvPr/>
        </p:nvSpPr>
        <p:spPr>
          <a:xfrm>
            <a:off x="3222311" y="5633718"/>
            <a:ext cx="72950" cy="47004"/>
          </a:xfrm>
          <a:custGeom>
            <a:avLst/>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0" name="자유형 69"/>
          <p:cNvSpPr/>
          <p:nvPr/>
        </p:nvSpPr>
        <p:spPr>
          <a:xfrm>
            <a:off x="2978592" y="5697252"/>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5" name="TextBox 74"/>
          <p:cNvSpPr txBox="1"/>
          <p:nvPr/>
        </p:nvSpPr>
        <p:spPr>
          <a:xfrm>
            <a:off x="1591088" y="47542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76" name="TextBox 75"/>
          <p:cNvSpPr txBox="1"/>
          <p:nvPr/>
        </p:nvSpPr>
        <p:spPr>
          <a:xfrm>
            <a:off x="4215742" y="323938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79" name="자유형 78"/>
          <p:cNvSpPr/>
          <p:nvPr/>
        </p:nvSpPr>
        <p:spPr>
          <a:xfrm>
            <a:off x="1367521" y="5994393"/>
            <a:ext cx="81240" cy="60268"/>
          </a:xfrm>
          <a:custGeom>
            <a:avLst/>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0" name="타원 79"/>
          <p:cNvSpPr/>
          <p:nvPr/>
        </p:nvSpPr>
        <p:spPr>
          <a:xfrm>
            <a:off x="6670355" y="4662681"/>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81" name="타원 80"/>
          <p:cNvSpPr/>
          <p:nvPr/>
        </p:nvSpPr>
        <p:spPr>
          <a:xfrm>
            <a:off x="6670355" y="2979998"/>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77" name="타원 76"/>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71864481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90000"/>
          </a:lnSpc>
          <a:spcBef>
            <a:spcPts val="400"/>
          </a:spcBef>
          <a:defRPr sz="1500" dirty="0" smtClean="0">
            <a:latin typeface="+mj-ea"/>
            <a:ea typeface="+mj-ea"/>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6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90000"/>
          </a:lnSpc>
          <a:spcBef>
            <a:spcPts val="400"/>
          </a:spcBef>
          <a:defRPr sz="1500" dirty="0" smtClean="0">
            <a:latin typeface="+mj-ea"/>
            <a:ea typeface="+mj-ea"/>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4.xml><?xml version="1.0" encoding="utf-8"?>
<a:theme xmlns:a="http://schemas.openxmlformats.org/drawingml/2006/main" name="5_디자인 사용자 지정">
  <a:themeElements>
    <a:clrScheme name="사용자 지정 9">
      <a:dk1>
        <a:srgbClr val="000000"/>
      </a:dk1>
      <a:lt1>
        <a:srgbClr val="FFFFFF"/>
      </a:lt1>
      <a:dk2>
        <a:srgbClr val="404040"/>
      </a:dk2>
      <a:lt2>
        <a:srgbClr val="595959"/>
      </a:lt2>
      <a:accent1>
        <a:srgbClr val="FF0000"/>
      </a:accent1>
      <a:accent2>
        <a:srgbClr val="BFBFBF"/>
      </a:accent2>
      <a:accent3>
        <a:srgbClr val="A095A9"/>
      </a:accent3>
      <a:accent4>
        <a:srgbClr val="CCC6D1"/>
      </a:accent4>
      <a:accent5>
        <a:srgbClr val="626262"/>
      </a:accent5>
      <a:accent6>
        <a:srgbClr val="FF5555"/>
      </a:accent6>
      <a:hlink>
        <a:srgbClr val="FFFFFF"/>
      </a:hlink>
      <a:folHlink>
        <a:srgbClr val="FFFFFF"/>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38100">
          <a:solidFill>
            <a:srgbClr val="003366"/>
          </a:solidFill>
        </a:ln>
      </a:spPr>
      <a:bodyPr wrap="none" lIns="0" tIns="0" rIns="0" bIns="0" rtlCol="0" anchor="ctr" anchorCtr="0">
        <a:noAutofit/>
      </a:bodyPr>
      <a:lstStyle>
        <a:defPPr algn="ctr" latinLnBrk="0">
          <a:defRPr sz="1400" spc="-60" dirty="0">
            <a:solidFill>
              <a:schemeClr val="tx1">
                <a:lumMod val="65000"/>
                <a:lumOff val="35000"/>
              </a:schemeClr>
            </a:solidFill>
            <a:latin typeface="+mn-ea"/>
          </a:defRPr>
        </a:defPPr>
      </a:lstStyle>
    </a:spDef>
    <a:lnDef>
      <a:spPr>
        <a:ln w="28575">
          <a:solidFill>
            <a:srgbClr val="003366"/>
          </a:solidFill>
          <a:headEnd type="oval" w="med" len="med"/>
          <a:tailEnd type="oval" w="med" len="med"/>
        </a:ln>
      </a:spPr>
      <a:bodyPr/>
      <a:lstStyle/>
      <a:style>
        <a:lnRef idx="1">
          <a:schemeClr val="accent1"/>
        </a:lnRef>
        <a:fillRef idx="0">
          <a:schemeClr val="accent1"/>
        </a:fillRef>
        <a:effectRef idx="0">
          <a:schemeClr val="accent1"/>
        </a:effectRef>
        <a:fontRef idx="minor">
          <a:schemeClr val="tx1"/>
        </a:fontRef>
      </a:style>
    </a:lnDef>
    <a:txDef>
      <a:spPr>
        <a:noFill/>
        <a:ln w="3175">
          <a:noFill/>
        </a:ln>
        <a:effectLst/>
      </a:spPr>
      <a:bodyPr wrap="square" lIns="0" tIns="0" rIns="0" bIns="0" rtlCol="0">
        <a:spAutoFit/>
      </a:bodyPr>
      <a:lstStyle>
        <a:defPPr algn="ctr" defTabSz="975022" latinLnBrk="0">
          <a:spcBef>
            <a:spcPts val="500"/>
          </a:spcBef>
          <a:buClr>
            <a:schemeClr val="tx1">
              <a:lumMod val="65000"/>
              <a:lumOff val="35000"/>
            </a:schemeClr>
          </a:buClr>
          <a:buSzPct val="60000"/>
          <a:defRPr sz="1100" dirty="0" smtClean="0">
            <a:solidFill>
              <a:schemeClr val="tx1">
                <a:lumMod val="65000"/>
                <a:lumOff val="35000"/>
              </a:schemeClr>
            </a:solidFill>
            <a:latin typeface="누리 L" panose="02020603020101020101" pitchFamily="18" charset="-127"/>
            <a:ea typeface="누리 L" panose="02020603020101020101" pitchFamily="18" charset="-127"/>
          </a:defRPr>
        </a:defPPr>
      </a:lstStyle>
    </a:txDef>
  </a:objectDefaults>
  <a:extraClrSchemeLst/>
</a:theme>
</file>

<file path=ppt/theme/theme5.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TotalTime>
  <Words>4874</Words>
  <Application>Microsoft Office PowerPoint</Application>
  <PresentationFormat>화면 슬라이드 쇼(4:3)</PresentationFormat>
  <Paragraphs>1697</Paragraphs>
  <Slides>33</Slides>
  <Notes>25</Notes>
  <HiddenSlides>0</HiddenSlides>
  <MMClips>0</MMClips>
  <ScaleCrop>false</ScaleCrop>
  <HeadingPairs>
    <vt:vector size="8" baseType="variant">
      <vt:variant>
        <vt:lpstr>사용한 글꼴</vt:lpstr>
      </vt:variant>
      <vt:variant>
        <vt:i4>15</vt:i4>
      </vt:variant>
      <vt:variant>
        <vt:lpstr>테마</vt:lpstr>
      </vt:variant>
      <vt:variant>
        <vt:i4>4</vt:i4>
      </vt:variant>
      <vt:variant>
        <vt:lpstr>포함된 OLE 서버</vt:lpstr>
      </vt:variant>
      <vt:variant>
        <vt:i4>1</vt:i4>
      </vt:variant>
      <vt:variant>
        <vt:lpstr>슬라이드 제목</vt:lpstr>
      </vt:variant>
      <vt:variant>
        <vt:i4>33</vt:i4>
      </vt:variant>
    </vt:vector>
  </HeadingPairs>
  <TitlesOfParts>
    <vt:vector size="53" baseType="lpstr">
      <vt:lpstr>NOVA Bold</vt:lpstr>
      <vt:lpstr>NOVA ExtraBold</vt:lpstr>
      <vt:lpstr>NOVA Light</vt:lpstr>
      <vt:lpstr>NOVA Medium</vt:lpstr>
      <vt:lpstr>굴림</vt:lpstr>
      <vt:lpstr>누리 B</vt:lpstr>
      <vt:lpstr>누리 L</vt:lpstr>
      <vt:lpstr>누리스마트OTF Light</vt:lpstr>
      <vt:lpstr>맑은 고딕</vt:lpstr>
      <vt:lpstr>Arial</vt:lpstr>
      <vt:lpstr>Arial Narrow</vt:lpstr>
      <vt:lpstr>Calibri</vt:lpstr>
      <vt:lpstr>Wingdings</vt:lpstr>
      <vt:lpstr>Wingdings 2</vt:lpstr>
      <vt:lpstr>Wingdings 3</vt:lpstr>
      <vt:lpstr>Office Theme</vt:lpstr>
      <vt:lpstr>3_A4_RBSC_PPT</vt:lpstr>
      <vt:lpstr>6_A4_RBSC_PPT</vt:lpstr>
      <vt:lpstr>5_디자인 사용자 지정</vt:lpstr>
      <vt:lpstr>think-cell Slide</vt:lpstr>
      <vt:lpstr>3. 관광/쇼핑 코스 등에 대한 분석을 통한 정책 제언</vt:lpstr>
      <vt:lpstr>PowerPoint 프레젠테이션</vt:lpstr>
      <vt:lpstr>     분석 개요</vt:lpstr>
      <vt:lpstr>     분석 개요</vt:lpstr>
      <vt:lpstr>PowerPoint 프레젠테이션</vt:lpstr>
      <vt:lpstr>     기존 관광 코스 분석</vt:lpstr>
      <vt:lpstr>     기존 관광 코스 분석</vt:lpstr>
      <vt:lpstr>     기존 관광 코스 분석</vt:lpstr>
      <vt:lpstr>     기존 관광 코스 분석</vt:lpstr>
      <vt:lpstr>     기존 관광 코스 분석</vt:lpstr>
      <vt:lpstr>     기존 관광 코스 분석</vt:lpstr>
      <vt:lpstr>     기존 관광 코스 분석</vt:lpstr>
      <vt:lpstr>     기존 관광 코스 분석</vt:lpstr>
      <vt:lpstr>     기존 관광 코스 분석</vt:lpstr>
      <vt:lpstr>PowerPoint 프레젠테이션</vt:lpstr>
      <vt:lpstr>     관광 국적별 소비 분석</vt:lpstr>
      <vt:lpstr>PowerPoint 프레젠테이션</vt:lpstr>
      <vt:lpstr>      관광 국적별 소비 분석 – 중국인 관광객 </vt:lpstr>
      <vt:lpstr>      관광 국적별 소비 분석 – 중국인 관광객 </vt:lpstr>
      <vt:lpstr>      관광 국적별 소비 분석 – 중국인 관광객 </vt:lpstr>
      <vt:lpstr>      관광 국적별 소비 분석 – 중국인 관광객 </vt:lpstr>
      <vt:lpstr>      관광 국적별 소비 분석 – 중국인 관광객 </vt:lpstr>
      <vt:lpstr>      관광 국적별 소비 분석 – 중국인 관광객 </vt:lpstr>
      <vt:lpstr>PowerPoint 프레젠테이션</vt:lpstr>
      <vt:lpstr>      관광 국적별 소비 분석 – 내국인 관광객 </vt:lpstr>
      <vt:lpstr>      관광 국적별 소비 분석 – 내국인 관광객 </vt:lpstr>
      <vt:lpstr>      관광 국적별 소비 분석 – 내국인 관광객 </vt:lpstr>
      <vt:lpstr>      관광 국적별 소비 분석 – 내국인 관광객 </vt:lpstr>
      <vt:lpstr>      관광 국적별 소비 분석 – 내국인 관광객 </vt:lpstr>
      <vt:lpstr>      관광 국적별 소비 분석 – 내국인 관광객 </vt:lpstr>
      <vt:lpstr>PowerPoint 프레젠테이션</vt:lpstr>
      <vt:lpstr>PowerPoint 프레젠테이션</vt:lpstr>
      <vt:lpstr>PowerPoint 프레젠테이션</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 관광/쇼핑 코스 등에 대한 분석을 통한 정책 제언</dc:title>
  <cp:lastModifiedBy>admin</cp:lastModifiedBy>
  <cp:revision>2</cp:revision>
  <cp:lastPrinted>2017-02-28T15:00:13Z</cp:lastPrinted>
  <dcterms:created xsi:type="dcterms:W3CDTF">2017-02-28T15:00:13Z</dcterms:created>
  <dcterms:modified xsi:type="dcterms:W3CDTF">2019-07-16T01:34:32Z</dcterms:modified>
</cp:coreProperties>
</file>